
<file path=[Content_Types].xml><?xml version="1.0" encoding="utf-8"?>
<Types xmlns="http://schemas.openxmlformats.org/package/2006/content-types">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6.xml" ContentType="application/vnd.openxmlformats-officedocument.presentationml.notesSlide+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notesSlides/notesSlide8.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40"/>
  </p:notesMasterIdLst>
  <p:sldIdLst>
    <p:sldId id="256" r:id="rId2"/>
    <p:sldId id="300" r:id="rId3"/>
    <p:sldId id="257" r:id="rId4"/>
    <p:sldId id="258" r:id="rId5"/>
    <p:sldId id="260" r:id="rId6"/>
    <p:sldId id="261" r:id="rId7"/>
    <p:sldId id="262" r:id="rId8"/>
    <p:sldId id="265" r:id="rId9"/>
    <p:sldId id="267" r:id="rId10"/>
    <p:sldId id="268" r:id="rId11"/>
    <p:sldId id="269" r:id="rId12"/>
    <p:sldId id="270" r:id="rId13"/>
    <p:sldId id="271" r:id="rId14"/>
    <p:sldId id="272" r:id="rId15"/>
    <p:sldId id="273" r:id="rId16"/>
    <p:sldId id="274" r:id="rId17"/>
    <p:sldId id="275" r:id="rId18"/>
    <p:sldId id="276" r:id="rId19"/>
    <p:sldId id="277" r:id="rId20"/>
    <p:sldId id="278" r:id="rId21"/>
    <p:sldId id="279" r:id="rId22"/>
    <p:sldId id="280" r:id="rId23"/>
    <p:sldId id="281" r:id="rId24"/>
    <p:sldId id="282" r:id="rId25"/>
    <p:sldId id="283" r:id="rId26"/>
    <p:sldId id="288" r:id="rId27"/>
    <p:sldId id="289" r:id="rId28"/>
    <p:sldId id="287" r:id="rId29"/>
    <p:sldId id="286" r:id="rId30"/>
    <p:sldId id="285" r:id="rId31"/>
    <p:sldId id="291" r:id="rId32"/>
    <p:sldId id="293" r:id="rId33"/>
    <p:sldId id="292" r:id="rId34"/>
    <p:sldId id="294" r:id="rId35"/>
    <p:sldId id="295" r:id="rId36"/>
    <p:sldId id="296" r:id="rId37"/>
    <p:sldId id="298" r:id="rId38"/>
    <p:sldId id="299" r:id="rId39"/>
  </p:sldIdLst>
  <p:sldSz cx="12192000" cy="6858000"/>
  <p:notesSz cx="6858000" cy="9144000"/>
  <p:embeddedFontLst>
    <p:embeddedFont>
      <p:font typeface="Bebas Neue" panose="020B0606020202050201" pitchFamily="34" charset="0"/>
      <p:regular r:id="rId41"/>
    </p:embeddedFont>
    <p:embeddedFont>
      <p:font typeface="Calibri" panose="020F0502020204030204" pitchFamily="34" charset="0"/>
      <p:regular r:id="rId42"/>
      <p:bold r:id="rId43"/>
      <p:italic r:id="rId44"/>
      <p:boldItalic r:id="rId45"/>
    </p:embeddedFont>
    <p:embeddedFont>
      <p:font typeface="Calibri Light" panose="020F0302020204030204" pitchFamily="34" charset="0"/>
      <p:regular r:id="rId46"/>
      <p:italic r:id="rId47"/>
    </p:embeddedFont>
    <p:embeddedFont>
      <p:font typeface="Quicksand Bold" pitchFamily="50" charset="0"/>
      <p:bold r:id="rId48"/>
    </p:embeddedFont>
    <p:embeddedFont>
      <p:font typeface="Quicksand Book" panose="02070303000000060000" pitchFamily="18" charset="0"/>
      <p:regular r:id="rId49"/>
    </p:embeddedFont>
    <p:embeddedFont>
      <p:font typeface="Quicksand Light" panose="02070303000000060000" pitchFamily="18" charset="0"/>
      <p:regular r:id="rId5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3B082"/>
    <a:srgbClr val="FFFFFF"/>
    <a:srgbClr val="F7C5A3"/>
    <a:srgbClr val="000000"/>
    <a:srgbClr val="F4B183"/>
    <a:srgbClr val="E6E6E6"/>
    <a:srgbClr val="EF904F"/>
    <a:srgbClr val="FFFFCC"/>
    <a:srgbClr val="FFFF99"/>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63" autoAdjust="0"/>
    <p:restoredTop sz="93842" autoAdjust="0"/>
  </p:normalViewPr>
  <p:slideViewPr>
    <p:cSldViewPr snapToGrid="0">
      <p:cViewPr>
        <p:scale>
          <a:sx n="64" d="100"/>
          <a:sy n="64" d="100"/>
        </p:scale>
        <p:origin x="-596" y="-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font" Target="fonts/font10.fntdata"/><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font" Target="fonts/font5.fntdata"/><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4.fntdata"/><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3.fntdata"/><Relationship Id="rId48" Type="http://schemas.openxmlformats.org/officeDocument/2006/relationships/font" Target="fonts/font8.fntdata"/><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font" Target="fonts/font6.fntdata"/><Relationship Id="rId20" Type="http://schemas.openxmlformats.org/officeDocument/2006/relationships/slide" Target="slides/slide19.xml"/><Relationship Id="rId41" Type="http://schemas.openxmlformats.org/officeDocument/2006/relationships/font" Target="fonts/font1.fntdata"/><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9.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SG"/>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D52CD3-031F-40D0-A24B-6772E5D24263}" type="datetimeFigureOut">
              <a:rPr lang="en-SG" smtClean="0"/>
              <a:t>11/3/2021</a:t>
            </a:fld>
            <a:endParaRPr lang="en-SG"/>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SG"/>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SG"/>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9F26CEA-0798-4FAF-8FA6-1881400DA927}" type="slidenum">
              <a:rPr lang="en-SG" smtClean="0"/>
              <a:t>‹#›</a:t>
            </a:fld>
            <a:endParaRPr lang="en-SG"/>
          </a:p>
        </p:txBody>
      </p:sp>
    </p:spTree>
    <p:extLst>
      <p:ext uri="{BB962C8B-B14F-4D97-AF65-F5344CB8AC3E}">
        <p14:creationId xmlns:p14="http://schemas.microsoft.com/office/powerpoint/2010/main" val="10973000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A9F26CEA-0798-4FAF-8FA6-1881400DA927}" type="slidenum">
              <a:rPr lang="en-SG" smtClean="0"/>
              <a:t>1</a:t>
            </a:fld>
            <a:endParaRPr lang="en-SG"/>
          </a:p>
        </p:txBody>
      </p:sp>
    </p:spTree>
    <p:extLst>
      <p:ext uri="{BB962C8B-B14F-4D97-AF65-F5344CB8AC3E}">
        <p14:creationId xmlns:p14="http://schemas.microsoft.com/office/powerpoint/2010/main" val="26781010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Pills will be sorted into individual compartments of a cartridge</a:t>
            </a:r>
          </a:p>
        </p:txBody>
      </p:sp>
      <p:sp>
        <p:nvSpPr>
          <p:cNvPr id="4" name="Slide Number Placeholder 3"/>
          <p:cNvSpPr>
            <a:spLocks noGrp="1"/>
          </p:cNvSpPr>
          <p:nvPr>
            <p:ph type="sldNum" sz="quarter" idx="5"/>
          </p:nvPr>
        </p:nvSpPr>
        <p:spPr/>
        <p:txBody>
          <a:bodyPr/>
          <a:lstStyle/>
          <a:p>
            <a:fld id="{A9F26CEA-0798-4FAF-8FA6-1881400DA927}" type="slidenum">
              <a:rPr lang="en-SG" smtClean="0"/>
              <a:t>14</a:t>
            </a:fld>
            <a:endParaRPr lang="en-SG"/>
          </a:p>
        </p:txBody>
      </p:sp>
    </p:spTree>
    <p:extLst>
      <p:ext uri="{BB962C8B-B14F-4D97-AF65-F5344CB8AC3E}">
        <p14:creationId xmlns:p14="http://schemas.microsoft.com/office/powerpoint/2010/main" val="20459192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The cartridge will be inserted into HOMEBO. Family member will program medicine intake schedule based on doctor prescription.</a:t>
            </a:r>
          </a:p>
        </p:txBody>
      </p:sp>
      <p:sp>
        <p:nvSpPr>
          <p:cNvPr id="4" name="Slide Number Placeholder 3"/>
          <p:cNvSpPr>
            <a:spLocks noGrp="1"/>
          </p:cNvSpPr>
          <p:nvPr>
            <p:ph type="sldNum" sz="quarter" idx="5"/>
          </p:nvPr>
        </p:nvSpPr>
        <p:spPr/>
        <p:txBody>
          <a:bodyPr/>
          <a:lstStyle/>
          <a:p>
            <a:fld id="{A9F26CEA-0798-4FAF-8FA6-1881400DA927}" type="slidenum">
              <a:rPr lang="en-SG" smtClean="0"/>
              <a:t>17</a:t>
            </a:fld>
            <a:endParaRPr lang="en-SG"/>
          </a:p>
        </p:txBody>
      </p:sp>
    </p:spTree>
    <p:extLst>
      <p:ext uri="{BB962C8B-B14F-4D97-AF65-F5344CB8AC3E}">
        <p14:creationId xmlns:p14="http://schemas.microsoft.com/office/powerpoint/2010/main" val="1996195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Right time to eat, alert</a:t>
            </a:r>
          </a:p>
        </p:txBody>
      </p:sp>
      <p:sp>
        <p:nvSpPr>
          <p:cNvPr id="4" name="Slide Number Placeholder 3"/>
          <p:cNvSpPr>
            <a:spLocks noGrp="1"/>
          </p:cNvSpPr>
          <p:nvPr>
            <p:ph type="sldNum" sz="quarter" idx="5"/>
          </p:nvPr>
        </p:nvSpPr>
        <p:spPr/>
        <p:txBody>
          <a:bodyPr/>
          <a:lstStyle/>
          <a:p>
            <a:fld id="{A9F26CEA-0798-4FAF-8FA6-1881400DA927}" type="slidenum">
              <a:rPr lang="en-SG" smtClean="0"/>
              <a:t>18</a:t>
            </a:fld>
            <a:endParaRPr lang="en-SG"/>
          </a:p>
        </p:txBody>
      </p:sp>
    </p:spTree>
    <p:extLst>
      <p:ext uri="{BB962C8B-B14F-4D97-AF65-F5344CB8AC3E}">
        <p14:creationId xmlns:p14="http://schemas.microsoft.com/office/powerpoint/2010/main" val="24809962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Acknowledge alert</a:t>
            </a:r>
          </a:p>
        </p:txBody>
      </p:sp>
      <p:sp>
        <p:nvSpPr>
          <p:cNvPr id="4" name="Slide Number Placeholder 3"/>
          <p:cNvSpPr>
            <a:spLocks noGrp="1"/>
          </p:cNvSpPr>
          <p:nvPr>
            <p:ph type="sldNum" sz="quarter" idx="5"/>
          </p:nvPr>
        </p:nvSpPr>
        <p:spPr/>
        <p:txBody>
          <a:bodyPr/>
          <a:lstStyle/>
          <a:p>
            <a:fld id="{A9F26CEA-0798-4FAF-8FA6-1881400DA927}" type="slidenum">
              <a:rPr lang="en-SG" smtClean="0"/>
              <a:t>19</a:t>
            </a:fld>
            <a:endParaRPr lang="en-SG"/>
          </a:p>
        </p:txBody>
      </p:sp>
    </p:spTree>
    <p:extLst>
      <p:ext uri="{BB962C8B-B14F-4D97-AF65-F5344CB8AC3E}">
        <p14:creationId xmlns:p14="http://schemas.microsoft.com/office/powerpoint/2010/main" val="21760688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Dispense</a:t>
            </a:r>
          </a:p>
        </p:txBody>
      </p:sp>
      <p:sp>
        <p:nvSpPr>
          <p:cNvPr id="4" name="Slide Number Placeholder 3"/>
          <p:cNvSpPr>
            <a:spLocks noGrp="1"/>
          </p:cNvSpPr>
          <p:nvPr>
            <p:ph type="sldNum" sz="quarter" idx="5"/>
          </p:nvPr>
        </p:nvSpPr>
        <p:spPr/>
        <p:txBody>
          <a:bodyPr/>
          <a:lstStyle/>
          <a:p>
            <a:fld id="{A9F26CEA-0798-4FAF-8FA6-1881400DA927}" type="slidenum">
              <a:rPr lang="en-SG" smtClean="0"/>
              <a:t>20</a:t>
            </a:fld>
            <a:endParaRPr lang="en-SG"/>
          </a:p>
        </p:txBody>
      </p:sp>
    </p:spTree>
    <p:extLst>
      <p:ext uri="{BB962C8B-B14F-4D97-AF65-F5344CB8AC3E}">
        <p14:creationId xmlns:p14="http://schemas.microsoft.com/office/powerpoint/2010/main" val="42484896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If never take on time, alert family members. For eldercare patients, HOMEBO will automatically refill pill boxes</a:t>
            </a:r>
          </a:p>
        </p:txBody>
      </p:sp>
      <p:sp>
        <p:nvSpPr>
          <p:cNvPr id="4" name="Slide Number Placeholder 3"/>
          <p:cNvSpPr>
            <a:spLocks noGrp="1"/>
          </p:cNvSpPr>
          <p:nvPr>
            <p:ph type="sldNum" sz="quarter" idx="5"/>
          </p:nvPr>
        </p:nvSpPr>
        <p:spPr/>
        <p:txBody>
          <a:bodyPr/>
          <a:lstStyle/>
          <a:p>
            <a:fld id="{A9F26CEA-0798-4FAF-8FA6-1881400DA927}" type="slidenum">
              <a:rPr lang="en-SG" smtClean="0"/>
              <a:t>21</a:t>
            </a:fld>
            <a:endParaRPr lang="en-SG"/>
          </a:p>
        </p:txBody>
      </p:sp>
    </p:spTree>
    <p:extLst>
      <p:ext uri="{BB962C8B-B14F-4D97-AF65-F5344CB8AC3E}">
        <p14:creationId xmlns:p14="http://schemas.microsoft.com/office/powerpoint/2010/main" val="20691396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Which will be brought over to the eldercare centre</a:t>
            </a:r>
          </a:p>
        </p:txBody>
      </p:sp>
      <p:sp>
        <p:nvSpPr>
          <p:cNvPr id="4" name="Slide Number Placeholder 3"/>
          <p:cNvSpPr>
            <a:spLocks noGrp="1"/>
          </p:cNvSpPr>
          <p:nvPr>
            <p:ph type="sldNum" sz="quarter" idx="5"/>
          </p:nvPr>
        </p:nvSpPr>
        <p:spPr/>
        <p:txBody>
          <a:bodyPr/>
          <a:lstStyle/>
          <a:p>
            <a:fld id="{A9F26CEA-0798-4FAF-8FA6-1881400DA927}" type="slidenum">
              <a:rPr lang="en-SG" smtClean="0"/>
              <a:t>22</a:t>
            </a:fld>
            <a:endParaRPr lang="en-SG"/>
          </a:p>
        </p:txBody>
      </p:sp>
    </p:spTree>
    <p:extLst>
      <p:ext uri="{BB962C8B-B14F-4D97-AF65-F5344CB8AC3E}">
        <p14:creationId xmlns:p14="http://schemas.microsoft.com/office/powerpoint/2010/main" val="25233433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Patients bring pillboxes to eldercare centre, pass to caregivers. Caregivers insert pillbox to corresponding drawer. While setting up machine, patient id required so caregivers can link the correct pillboxes to correct drawer (Right person)</a:t>
            </a:r>
          </a:p>
        </p:txBody>
      </p:sp>
      <p:sp>
        <p:nvSpPr>
          <p:cNvPr id="4" name="Slide Number Placeholder 3"/>
          <p:cNvSpPr>
            <a:spLocks noGrp="1"/>
          </p:cNvSpPr>
          <p:nvPr>
            <p:ph type="sldNum" sz="quarter" idx="5"/>
          </p:nvPr>
        </p:nvSpPr>
        <p:spPr/>
        <p:txBody>
          <a:bodyPr/>
          <a:lstStyle/>
          <a:p>
            <a:fld id="{A9F26CEA-0798-4FAF-8FA6-1881400DA927}" type="slidenum">
              <a:rPr lang="en-SG" smtClean="0"/>
              <a:t>24</a:t>
            </a:fld>
            <a:endParaRPr lang="en-SG"/>
          </a:p>
        </p:txBody>
      </p:sp>
    </p:spTree>
    <p:extLst>
      <p:ext uri="{BB962C8B-B14F-4D97-AF65-F5344CB8AC3E}">
        <p14:creationId xmlns:p14="http://schemas.microsoft.com/office/powerpoint/2010/main" val="33155292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Drawer locked. Time to eat, app alert, light alert. (Right time). </a:t>
            </a:r>
          </a:p>
        </p:txBody>
      </p:sp>
      <p:sp>
        <p:nvSpPr>
          <p:cNvPr id="4" name="Slide Number Placeholder 3"/>
          <p:cNvSpPr>
            <a:spLocks noGrp="1"/>
          </p:cNvSpPr>
          <p:nvPr>
            <p:ph type="sldNum" sz="quarter" idx="5"/>
          </p:nvPr>
        </p:nvSpPr>
        <p:spPr/>
        <p:txBody>
          <a:bodyPr/>
          <a:lstStyle/>
          <a:p>
            <a:fld id="{A9F26CEA-0798-4FAF-8FA6-1881400DA927}" type="slidenum">
              <a:rPr lang="en-SG" smtClean="0"/>
              <a:t>25</a:t>
            </a:fld>
            <a:endParaRPr lang="en-SG"/>
          </a:p>
        </p:txBody>
      </p:sp>
    </p:spTree>
    <p:extLst>
      <p:ext uri="{BB962C8B-B14F-4D97-AF65-F5344CB8AC3E}">
        <p14:creationId xmlns:p14="http://schemas.microsoft.com/office/powerpoint/2010/main" val="22287883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err="1"/>
              <a:t>Qrcode</a:t>
            </a:r>
            <a:r>
              <a:rPr lang="en-SG" dirty="0"/>
              <a:t> for authentication purposes. Caregivers can cross check medication &amp; picture of dosage before dispensing (right dose). Dispense already -&gt; Drawer unlocked</a:t>
            </a:r>
          </a:p>
        </p:txBody>
      </p:sp>
      <p:sp>
        <p:nvSpPr>
          <p:cNvPr id="4" name="Slide Number Placeholder 3"/>
          <p:cNvSpPr>
            <a:spLocks noGrp="1"/>
          </p:cNvSpPr>
          <p:nvPr>
            <p:ph type="sldNum" sz="quarter" idx="5"/>
          </p:nvPr>
        </p:nvSpPr>
        <p:spPr/>
        <p:txBody>
          <a:bodyPr/>
          <a:lstStyle/>
          <a:p>
            <a:fld id="{A9F26CEA-0798-4FAF-8FA6-1881400DA927}" type="slidenum">
              <a:rPr lang="en-SG" smtClean="0"/>
              <a:t>28</a:t>
            </a:fld>
            <a:endParaRPr lang="en-SG"/>
          </a:p>
        </p:txBody>
      </p:sp>
    </p:spTree>
    <p:extLst>
      <p:ext uri="{BB962C8B-B14F-4D97-AF65-F5344CB8AC3E}">
        <p14:creationId xmlns:p14="http://schemas.microsoft.com/office/powerpoint/2010/main" val="27772985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A9F26CEA-0798-4FAF-8FA6-1881400DA927}" type="slidenum">
              <a:rPr lang="en-SG" smtClean="0"/>
              <a:t>2</a:t>
            </a:fld>
            <a:endParaRPr lang="en-SG"/>
          </a:p>
        </p:txBody>
      </p:sp>
    </p:spTree>
    <p:extLst>
      <p:ext uri="{BB962C8B-B14F-4D97-AF65-F5344CB8AC3E}">
        <p14:creationId xmlns:p14="http://schemas.microsoft.com/office/powerpoint/2010/main" val="426339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Caregiver will pass pillbox to patient, visual confirmation that patient has eaten the medication</a:t>
            </a:r>
          </a:p>
        </p:txBody>
      </p:sp>
      <p:sp>
        <p:nvSpPr>
          <p:cNvPr id="4" name="Slide Number Placeholder 3"/>
          <p:cNvSpPr>
            <a:spLocks noGrp="1"/>
          </p:cNvSpPr>
          <p:nvPr>
            <p:ph type="sldNum" sz="quarter" idx="5"/>
          </p:nvPr>
        </p:nvSpPr>
        <p:spPr/>
        <p:txBody>
          <a:bodyPr/>
          <a:lstStyle/>
          <a:p>
            <a:fld id="{A9F26CEA-0798-4FAF-8FA6-1881400DA927}" type="slidenum">
              <a:rPr lang="en-SG" smtClean="0"/>
              <a:t>29</a:t>
            </a:fld>
            <a:endParaRPr lang="en-SG"/>
          </a:p>
        </p:txBody>
      </p:sp>
    </p:spTree>
    <p:extLst>
      <p:ext uri="{BB962C8B-B14F-4D97-AF65-F5344CB8AC3E}">
        <p14:creationId xmlns:p14="http://schemas.microsoft.com/office/powerpoint/2010/main" val="26594922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Final confirmation that dosage eaten -&gt; Verify -&gt; Drawer locked</a:t>
            </a:r>
          </a:p>
        </p:txBody>
      </p:sp>
      <p:sp>
        <p:nvSpPr>
          <p:cNvPr id="4" name="Slide Number Placeholder 3"/>
          <p:cNvSpPr>
            <a:spLocks noGrp="1"/>
          </p:cNvSpPr>
          <p:nvPr>
            <p:ph type="sldNum" sz="quarter" idx="5"/>
          </p:nvPr>
        </p:nvSpPr>
        <p:spPr/>
        <p:txBody>
          <a:bodyPr/>
          <a:lstStyle/>
          <a:p>
            <a:fld id="{A9F26CEA-0798-4FAF-8FA6-1881400DA927}" type="slidenum">
              <a:rPr lang="en-SG" smtClean="0"/>
              <a:t>30</a:t>
            </a:fld>
            <a:endParaRPr lang="en-SG"/>
          </a:p>
        </p:txBody>
      </p:sp>
    </p:spTree>
    <p:extLst>
      <p:ext uri="{BB962C8B-B14F-4D97-AF65-F5344CB8AC3E}">
        <p14:creationId xmlns:p14="http://schemas.microsoft.com/office/powerpoint/2010/main" val="12128949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If late, more and more app notifications progressively sent to more and more people, such as other caregivers and managers</a:t>
            </a:r>
          </a:p>
          <a:p>
            <a:r>
              <a:rPr lang="en-SG" dirty="0"/>
              <a:t>Consumption schedule of all patients ready available on HOBO app, caregiver manager can see, family members can also see</a:t>
            </a:r>
          </a:p>
        </p:txBody>
      </p:sp>
      <p:sp>
        <p:nvSpPr>
          <p:cNvPr id="4" name="Slide Number Placeholder 3"/>
          <p:cNvSpPr>
            <a:spLocks noGrp="1"/>
          </p:cNvSpPr>
          <p:nvPr>
            <p:ph type="sldNum" sz="quarter" idx="5"/>
          </p:nvPr>
        </p:nvSpPr>
        <p:spPr/>
        <p:txBody>
          <a:bodyPr/>
          <a:lstStyle/>
          <a:p>
            <a:fld id="{A9F26CEA-0798-4FAF-8FA6-1881400DA927}" type="slidenum">
              <a:rPr lang="en-SG" smtClean="0"/>
              <a:t>32</a:t>
            </a:fld>
            <a:endParaRPr lang="en-SG"/>
          </a:p>
        </p:txBody>
      </p:sp>
    </p:spTree>
    <p:extLst>
      <p:ext uri="{BB962C8B-B14F-4D97-AF65-F5344CB8AC3E}">
        <p14:creationId xmlns:p14="http://schemas.microsoft.com/office/powerpoint/2010/main" val="24797619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Locking mechanism, planned out software framework for app, backend etc.</a:t>
            </a:r>
          </a:p>
        </p:txBody>
      </p:sp>
      <p:sp>
        <p:nvSpPr>
          <p:cNvPr id="4" name="Slide Number Placeholder 3"/>
          <p:cNvSpPr>
            <a:spLocks noGrp="1"/>
          </p:cNvSpPr>
          <p:nvPr>
            <p:ph type="sldNum" sz="quarter" idx="5"/>
          </p:nvPr>
        </p:nvSpPr>
        <p:spPr/>
        <p:txBody>
          <a:bodyPr/>
          <a:lstStyle/>
          <a:p>
            <a:fld id="{A9F26CEA-0798-4FAF-8FA6-1881400DA927}" type="slidenum">
              <a:rPr lang="en-SG" smtClean="0"/>
              <a:t>35</a:t>
            </a:fld>
            <a:endParaRPr lang="en-SG"/>
          </a:p>
        </p:txBody>
      </p:sp>
    </p:spTree>
    <p:extLst>
      <p:ext uri="{BB962C8B-B14F-4D97-AF65-F5344CB8AC3E}">
        <p14:creationId xmlns:p14="http://schemas.microsoft.com/office/powerpoint/2010/main" val="38287099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Tab out show pictures of UI, rendered pictures</a:t>
            </a:r>
          </a:p>
        </p:txBody>
      </p:sp>
      <p:sp>
        <p:nvSpPr>
          <p:cNvPr id="4" name="Slide Number Placeholder 3"/>
          <p:cNvSpPr>
            <a:spLocks noGrp="1"/>
          </p:cNvSpPr>
          <p:nvPr>
            <p:ph type="sldNum" sz="quarter" idx="5"/>
          </p:nvPr>
        </p:nvSpPr>
        <p:spPr/>
        <p:txBody>
          <a:bodyPr/>
          <a:lstStyle/>
          <a:p>
            <a:fld id="{A9F26CEA-0798-4FAF-8FA6-1881400DA927}" type="slidenum">
              <a:rPr lang="en-SG" smtClean="0"/>
              <a:t>36</a:t>
            </a:fld>
            <a:endParaRPr lang="en-SG"/>
          </a:p>
        </p:txBody>
      </p:sp>
    </p:spTree>
    <p:extLst>
      <p:ext uri="{BB962C8B-B14F-4D97-AF65-F5344CB8AC3E}">
        <p14:creationId xmlns:p14="http://schemas.microsoft.com/office/powerpoint/2010/main" val="337119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A9F26CEA-0798-4FAF-8FA6-1881400DA927}" type="slidenum">
              <a:rPr lang="en-SG" smtClean="0"/>
              <a:t>3</a:t>
            </a:fld>
            <a:endParaRPr lang="en-SG"/>
          </a:p>
        </p:txBody>
      </p:sp>
    </p:spTree>
    <p:extLst>
      <p:ext uri="{BB962C8B-B14F-4D97-AF65-F5344CB8AC3E}">
        <p14:creationId xmlns:p14="http://schemas.microsoft.com/office/powerpoint/2010/main" val="3269325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Introduce the 3 machines, general overview of their functionality</a:t>
            </a:r>
          </a:p>
        </p:txBody>
      </p:sp>
      <p:sp>
        <p:nvSpPr>
          <p:cNvPr id="4" name="Slide Number Placeholder 3"/>
          <p:cNvSpPr>
            <a:spLocks noGrp="1"/>
          </p:cNvSpPr>
          <p:nvPr>
            <p:ph type="sldNum" sz="quarter" idx="5"/>
          </p:nvPr>
        </p:nvSpPr>
        <p:spPr/>
        <p:txBody>
          <a:bodyPr/>
          <a:lstStyle/>
          <a:p>
            <a:fld id="{A9F26CEA-0798-4FAF-8FA6-1881400DA927}" type="slidenum">
              <a:rPr lang="en-SG" smtClean="0"/>
              <a:t>4</a:t>
            </a:fld>
            <a:endParaRPr lang="en-SG"/>
          </a:p>
        </p:txBody>
      </p:sp>
    </p:spTree>
    <p:extLst>
      <p:ext uri="{BB962C8B-B14F-4D97-AF65-F5344CB8AC3E}">
        <p14:creationId xmlns:p14="http://schemas.microsoft.com/office/powerpoint/2010/main" val="17909210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A9F26CEA-0798-4FAF-8FA6-1881400DA927}" type="slidenum">
              <a:rPr lang="en-SG" smtClean="0"/>
              <a:t>5</a:t>
            </a:fld>
            <a:endParaRPr lang="en-SG"/>
          </a:p>
        </p:txBody>
      </p:sp>
    </p:spTree>
    <p:extLst>
      <p:ext uri="{BB962C8B-B14F-4D97-AF65-F5344CB8AC3E}">
        <p14:creationId xmlns:p14="http://schemas.microsoft.com/office/powerpoint/2010/main" val="1978054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One complete solution that targets the entire process – from pharmacy to home to eldercare</a:t>
            </a:r>
          </a:p>
        </p:txBody>
      </p:sp>
      <p:sp>
        <p:nvSpPr>
          <p:cNvPr id="4" name="Slide Number Placeholder 3"/>
          <p:cNvSpPr>
            <a:spLocks noGrp="1"/>
          </p:cNvSpPr>
          <p:nvPr>
            <p:ph type="sldNum" sz="quarter" idx="5"/>
          </p:nvPr>
        </p:nvSpPr>
        <p:spPr/>
        <p:txBody>
          <a:bodyPr/>
          <a:lstStyle/>
          <a:p>
            <a:fld id="{A9F26CEA-0798-4FAF-8FA6-1881400DA927}" type="slidenum">
              <a:rPr lang="en-SG" smtClean="0"/>
              <a:t>9</a:t>
            </a:fld>
            <a:endParaRPr lang="en-SG"/>
          </a:p>
        </p:txBody>
      </p:sp>
    </p:spTree>
    <p:extLst>
      <p:ext uri="{BB962C8B-B14F-4D97-AF65-F5344CB8AC3E}">
        <p14:creationId xmlns:p14="http://schemas.microsoft.com/office/powerpoint/2010/main" val="14607645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Doctor prescribes medicine &amp; keys the prescription into the app</a:t>
            </a:r>
          </a:p>
        </p:txBody>
      </p:sp>
      <p:sp>
        <p:nvSpPr>
          <p:cNvPr id="4" name="Slide Number Placeholder 3"/>
          <p:cNvSpPr>
            <a:spLocks noGrp="1"/>
          </p:cNvSpPr>
          <p:nvPr>
            <p:ph type="sldNum" sz="quarter" idx="5"/>
          </p:nvPr>
        </p:nvSpPr>
        <p:spPr/>
        <p:txBody>
          <a:bodyPr/>
          <a:lstStyle/>
          <a:p>
            <a:fld id="{A9F26CEA-0798-4FAF-8FA6-1881400DA927}" type="slidenum">
              <a:rPr lang="en-SG" smtClean="0"/>
              <a:t>10</a:t>
            </a:fld>
            <a:endParaRPr lang="en-SG"/>
          </a:p>
        </p:txBody>
      </p:sp>
    </p:spTree>
    <p:extLst>
      <p:ext uri="{BB962C8B-B14F-4D97-AF65-F5344CB8AC3E}">
        <p14:creationId xmlns:p14="http://schemas.microsoft.com/office/powerpoint/2010/main" val="3056692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A9F26CEA-0798-4FAF-8FA6-1881400DA927}" type="slidenum">
              <a:rPr lang="en-SG" smtClean="0"/>
              <a:t>11</a:t>
            </a:fld>
            <a:endParaRPr lang="en-SG"/>
          </a:p>
        </p:txBody>
      </p:sp>
    </p:spTree>
    <p:extLst>
      <p:ext uri="{BB962C8B-B14F-4D97-AF65-F5344CB8AC3E}">
        <p14:creationId xmlns:p14="http://schemas.microsoft.com/office/powerpoint/2010/main" val="1506389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a:t>Pharmacist will collect all the medicine needed and use PHOBO to cut the blister pack into individual pills</a:t>
            </a:r>
          </a:p>
          <a:p>
            <a:endParaRPr lang="en-SG" dirty="0"/>
          </a:p>
        </p:txBody>
      </p:sp>
      <p:sp>
        <p:nvSpPr>
          <p:cNvPr id="4" name="Slide Number Placeholder 3"/>
          <p:cNvSpPr>
            <a:spLocks noGrp="1"/>
          </p:cNvSpPr>
          <p:nvPr>
            <p:ph type="sldNum" sz="quarter" idx="5"/>
          </p:nvPr>
        </p:nvSpPr>
        <p:spPr/>
        <p:txBody>
          <a:bodyPr/>
          <a:lstStyle/>
          <a:p>
            <a:fld id="{A9F26CEA-0798-4FAF-8FA6-1881400DA927}" type="slidenum">
              <a:rPr lang="en-SG" smtClean="0"/>
              <a:t>13</a:t>
            </a:fld>
            <a:endParaRPr lang="en-SG"/>
          </a:p>
        </p:txBody>
      </p:sp>
    </p:spTree>
    <p:extLst>
      <p:ext uri="{BB962C8B-B14F-4D97-AF65-F5344CB8AC3E}">
        <p14:creationId xmlns:p14="http://schemas.microsoft.com/office/powerpoint/2010/main" val="11915189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9DBAE-119F-4B97-BF57-8D4AC97F6A1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SG"/>
          </a:p>
        </p:txBody>
      </p:sp>
      <p:sp>
        <p:nvSpPr>
          <p:cNvPr id="3" name="Subtitle 2">
            <a:extLst>
              <a:ext uri="{FF2B5EF4-FFF2-40B4-BE49-F238E27FC236}">
                <a16:creationId xmlns:a16="http://schemas.microsoft.com/office/drawing/2014/main" id="{B00656BA-6987-4F6E-8CAE-8EB34CFF28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G"/>
          </a:p>
        </p:txBody>
      </p:sp>
      <p:sp>
        <p:nvSpPr>
          <p:cNvPr id="4" name="Date Placeholder 3">
            <a:extLst>
              <a:ext uri="{FF2B5EF4-FFF2-40B4-BE49-F238E27FC236}">
                <a16:creationId xmlns:a16="http://schemas.microsoft.com/office/drawing/2014/main" id="{84A14BA6-0BD2-4244-918C-2C91D6C537F2}"/>
              </a:ext>
            </a:extLst>
          </p:cNvPr>
          <p:cNvSpPr>
            <a:spLocks noGrp="1"/>
          </p:cNvSpPr>
          <p:nvPr>
            <p:ph type="dt" sz="half" idx="10"/>
          </p:nvPr>
        </p:nvSpPr>
        <p:spPr/>
        <p:txBody>
          <a:bodyPr/>
          <a:lstStyle/>
          <a:p>
            <a:fld id="{BB611220-279D-403E-BB1C-55F4E91577FE}" type="datetimeFigureOut">
              <a:rPr lang="en-SG" smtClean="0"/>
              <a:t>11/3/2021</a:t>
            </a:fld>
            <a:endParaRPr lang="en-SG"/>
          </a:p>
        </p:txBody>
      </p:sp>
      <p:sp>
        <p:nvSpPr>
          <p:cNvPr id="5" name="Footer Placeholder 4">
            <a:extLst>
              <a:ext uri="{FF2B5EF4-FFF2-40B4-BE49-F238E27FC236}">
                <a16:creationId xmlns:a16="http://schemas.microsoft.com/office/drawing/2014/main" id="{29FF4518-9A95-47A3-B87B-62345AE702A8}"/>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EDF78660-B6B4-4E33-AC39-907E496D2B26}"/>
              </a:ext>
            </a:extLst>
          </p:cNvPr>
          <p:cNvSpPr>
            <a:spLocks noGrp="1"/>
          </p:cNvSpPr>
          <p:nvPr>
            <p:ph type="sldNum" sz="quarter" idx="12"/>
          </p:nvPr>
        </p:nvSpPr>
        <p:spPr/>
        <p:txBody>
          <a:bodyPr/>
          <a:lstStyle/>
          <a:p>
            <a:fld id="{79A12583-2BA6-4C47-A2C9-E00958899204}" type="slidenum">
              <a:rPr lang="en-SG" smtClean="0"/>
              <a:t>‹#›</a:t>
            </a:fld>
            <a:endParaRPr lang="en-SG"/>
          </a:p>
        </p:txBody>
      </p:sp>
    </p:spTree>
    <p:extLst>
      <p:ext uri="{BB962C8B-B14F-4D97-AF65-F5344CB8AC3E}">
        <p14:creationId xmlns:p14="http://schemas.microsoft.com/office/powerpoint/2010/main" val="2240656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B77FF-EC2B-4B22-BE63-F922A02DE785}"/>
              </a:ext>
            </a:extLst>
          </p:cNvPr>
          <p:cNvSpPr>
            <a:spLocks noGrp="1"/>
          </p:cNvSpPr>
          <p:nvPr>
            <p:ph type="title"/>
          </p:nvPr>
        </p:nvSpPr>
        <p:spPr/>
        <p:txBody>
          <a:bodyPr/>
          <a:lstStyle/>
          <a:p>
            <a:r>
              <a:rPr lang="en-US"/>
              <a:t>Click to edit Master title style</a:t>
            </a:r>
            <a:endParaRPr lang="en-SG"/>
          </a:p>
        </p:txBody>
      </p:sp>
      <p:sp>
        <p:nvSpPr>
          <p:cNvPr id="3" name="Vertical Text Placeholder 2">
            <a:extLst>
              <a:ext uri="{FF2B5EF4-FFF2-40B4-BE49-F238E27FC236}">
                <a16:creationId xmlns:a16="http://schemas.microsoft.com/office/drawing/2014/main" id="{C5B3A8BA-4660-4091-AA22-25A61FDC85B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779B2E19-2308-497F-A38E-AECDBB9D5D66}"/>
              </a:ext>
            </a:extLst>
          </p:cNvPr>
          <p:cNvSpPr>
            <a:spLocks noGrp="1"/>
          </p:cNvSpPr>
          <p:nvPr>
            <p:ph type="dt" sz="half" idx="10"/>
          </p:nvPr>
        </p:nvSpPr>
        <p:spPr/>
        <p:txBody>
          <a:bodyPr/>
          <a:lstStyle/>
          <a:p>
            <a:fld id="{BB611220-279D-403E-BB1C-55F4E91577FE}" type="datetimeFigureOut">
              <a:rPr lang="en-SG" smtClean="0"/>
              <a:t>11/3/2021</a:t>
            </a:fld>
            <a:endParaRPr lang="en-SG"/>
          </a:p>
        </p:txBody>
      </p:sp>
      <p:sp>
        <p:nvSpPr>
          <p:cNvPr id="5" name="Footer Placeholder 4">
            <a:extLst>
              <a:ext uri="{FF2B5EF4-FFF2-40B4-BE49-F238E27FC236}">
                <a16:creationId xmlns:a16="http://schemas.microsoft.com/office/drawing/2014/main" id="{D33C37D5-3002-4698-B23C-5247535F231E}"/>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40517B38-9477-47D0-B536-2B32C588896A}"/>
              </a:ext>
            </a:extLst>
          </p:cNvPr>
          <p:cNvSpPr>
            <a:spLocks noGrp="1"/>
          </p:cNvSpPr>
          <p:nvPr>
            <p:ph type="sldNum" sz="quarter" idx="12"/>
          </p:nvPr>
        </p:nvSpPr>
        <p:spPr/>
        <p:txBody>
          <a:bodyPr/>
          <a:lstStyle/>
          <a:p>
            <a:fld id="{79A12583-2BA6-4C47-A2C9-E00958899204}" type="slidenum">
              <a:rPr lang="en-SG" smtClean="0"/>
              <a:t>‹#›</a:t>
            </a:fld>
            <a:endParaRPr lang="en-SG"/>
          </a:p>
        </p:txBody>
      </p:sp>
    </p:spTree>
    <p:extLst>
      <p:ext uri="{BB962C8B-B14F-4D97-AF65-F5344CB8AC3E}">
        <p14:creationId xmlns:p14="http://schemas.microsoft.com/office/powerpoint/2010/main" val="21476447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2FDEB40-B389-4DB7-8CDA-C082D4669DC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SG"/>
          </a:p>
        </p:txBody>
      </p:sp>
      <p:sp>
        <p:nvSpPr>
          <p:cNvPr id="3" name="Vertical Text Placeholder 2">
            <a:extLst>
              <a:ext uri="{FF2B5EF4-FFF2-40B4-BE49-F238E27FC236}">
                <a16:creationId xmlns:a16="http://schemas.microsoft.com/office/drawing/2014/main" id="{9D5B6641-F9CE-4FAB-9959-4B9A10B0F1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A4261DB1-2497-4C2A-A1F3-F79D87C0986E}"/>
              </a:ext>
            </a:extLst>
          </p:cNvPr>
          <p:cNvSpPr>
            <a:spLocks noGrp="1"/>
          </p:cNvSpPr>
          <p:nvPr>
            <p:ph type="dt" sz="half" idx="10"/>
          </p:nvPr>
        </p:nvSpPr>
        <p:spPr/>
        <p:txBody>
          <a:bodyPr/>
          <a:lstStyle/>
          <a:p>
            <a:fld id="{BB611220-279D-403E-BB1C-55F4E91577FE}" type="datetimeFigureOut">
              <a:rPr lang="en-SG" smtClean="0"/>
              <a:t>11/3/2021</a:t>
            </a:fld>
            <a:endParaRPr lang="en-SG"/>
          </a:p>
        </p:txBody>
      </p:sp>
      <p:sp>
        <p:nvSpPr>
          <p:cNvPr id="5" name="Footer Placeholder 4">
            <a:extLst>
              <a:ext uri="{FF2B5EF4-FFF2-40B4-BE49-F238E27FC236}">
                <a16:creationId xmlns:a16="http://schemas.microsoft.com/office/drawing/2014/main" id="{25864E39-231B-44D9-A355-2531E8C463F5}"/>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39707590-48C8-45BB-AEE1-E6C341DB9A21}"/>
              </a:ext>
            </a:extLst>
          </p:cNvPr>
          <p:cNvSpPr>
            <a:spLocks noGrp="1"/>
          </p:cNvSpPr>
          <p:nvPr>
            <p:ph type="sldNum" sz="quarter" idx="12"/>
          </p:nvPr>
        </p:nvSpPr>
        <p:spPr/>
        <p:txBody>
          <a:bodyPr/>
          <a:lstStyle/>
          <a:p>
            <a:fld id="{79A12583-2BA6-4C47-A2C9-E00958899204}" type="slidenum">
              <a:rPr lang="en-SG" smtClean="0"/>
              <a:t>‹#›</a:t>
            </a:fld>
            <a:endParaRPr lang="en-SG"/>
          </a:p>
        </p:txBody>
      </p:sp>
    </p:spTree>
    <p:extLst>
      <p:ext uri="{BB962C8B-B14F-4D97-AF65-F5344CB8AC3E}">
        <p14:creationId xmlns:p14="http://schemas.microsoft.com/office/powerpoint/2010/main" val="26510611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37B8F-43E3-4A69-B708-5C8973A0A728}"/>
              </a:ext>
            </a:extLst>
          </p:cNvPr>
          <p:cNvSpPr>
            <a:spLocks noGrp="1"/>
          </p:cNvSpPr>
          <p:nvPr>
            <p:ph type="title"/>
          </p:nvPr>
        </p:nvSpPr>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id="{8B67BAB4-60E2-40C4-B969-ABDC6BB67FC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4C62A1F1-468C-448E-BE18-C18BD461A51A}"/>
              </a:ext>
            </a:extLst>
          </p:cNvPr>
          <p:cNvSpPr>
            <a:spLocks noGrp="1"/>
          </p:cNvSpPr>
          <p:nvPr>
            <p:ph type="dt" sz="half" idx="10"/>
          </p:nvPr>
        </p:nvSpPr>
        <p:spPr/>
        <p:txBody>
          <a:bodyPr/>
          <a:lstStyle/>
          <a:p>
            <a:fld id="{BB611220-279D-403E-BB1C-55F4E91577FE}" type="datetimeFigureOut">
              <a:rPr lang="en-SG" smtClean="0"/>
              <a:t>11/3/2021</a:t>
            </a:fld>
            <a:endParaRPr lang="en-SG"/>
          </a:p>
        </p:txBody>
      </p:sp>
      <p:sp>
        <p:nvSpPr>
          <p:cNvPr id="5" name="Footer Placeholder 4">
            <a:extLst>
              <a:ext uri="{FF2B5EF4-FFF2-40B4-BE49-F238E27FC236}">
                <a16:creationId xmlns:a16="http://schemas.microsoft.com/office/drawing/2014/main" id="{6B1FD137-8688-472D-83F0-942730B176E9}"/>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69AF87F8-FAB0-49E1-B06A-9773E2DE790B}"/>
              </a:ext>
            </a:extLst>
          </p:cNvPr>
          <p:cNvSpPr>
            <a:spLocks noGrp="1"/>
          </p:cNvSpPr>
          <p:nvPr>
            <p:ph type="sldNum" sz="quarter" idx="12"/>
          </p:nvPr>
        </p:nvSpPr>
        <p:spPr/>
        <p:txBody>
          <a:bodyPr/>
          <a:lstStyle/>
          <a:p>
            <a:fld id="{79A12583-2BA6-4C47-A2C9-E00958899204}" type="slidenum">
              <a:rPr lang="en-SG" smtClean="0"/>
              <a:t>‹#›</a:t>
            </a:fld>
            <a:endParaRPr lang="en-SG"/>
          </a:p>
        </p:txBody>
      </p:sp>
    </p:spTree>
    <p:extLst>
      <p:ext uri="{BB962C8B-B14F-4D97-AF65-F5344CB8AC3E}">
        <p14:creationId xmlns:p14="http://schemas.microsoft.com/office/powerpoint/2010/main" val="1472834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6FF72-FEE4-4A67-8C66-68C2580D47A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SG"/>
          </a:p>
        </p:txBody>
      </p:sp>
      <p:sp>
        <p:nvSpPr>
          <p:cNvPr id="3" name="Text Placeholder 2">
            <a:extLst>
              <a:ext uri="{FF2B5EF4-FFF2-40B4-BE49-F238E27FC236}">
                <a16:creationId xmlns:a16="http://schemas.microsoft.com/office/drawing/2014/main" id="{B59B65FD-652A-498B-8116-4DCE8372702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B144C6D-7EC1-4CBC-A40F-C631C362642B}"/>
              </a:ext>
            </a:extLst>
          </p:cNvPr>
          <p:cNvSpPr>
            <a:spLocks noGrp="1"/>
          </p:cNvSpPr>
          <p:nvPr>
            <p:ph type="dt" sz="half" idx="10"/>
          </p:nvPr>
        </p:nvSpPr>
        <p:spPr/>
        <p:txBody>
          <a:bodyPr/>
          <a:lstStyle/>
          <a:p>
            <a:fld id="{BB611220-279D-403E-BB1C-55F4E91577FE}" type="datetimeFigureOut">
              <a:rPr lang="en-SG" smtClean="0"/>
              <a:t>11/3/2021</a:t>
            </a:fld>
            <a:endParaRPr lang="en-SG"/>
          </a:p>
        </p:txBody>
      </p:sp>
      <p:sp>
        <p:nvSpPr>
          <p:cNvPr id="5" name="Footer Placeholder 4">
            <a:extLst>
              <a:ext uri="{FF2B5EF4-FFF2-40B4-BE49-F238E27FC236}">
                <a16:creationId xmlns:a16="http://schemas.microsoft.com/office/drawing/2014/main" id="{4A432242-5946-42B1-8E73-2DF216F7E067}"/>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5A704505-F7D9-41A5-B0B9-571C3A8ACA9C}"/>
              </a:ext>
            </a:extLst>
          </p:cNvPr>
          <p:cNvSpPr>
            <a:spLocks noGrp="1"/>
          </p:cNvSpPr>
          <p:nvPr>
            <p:ph type="sldNum" sz="quarter" idx="12"/>
          </p:nvPr>
        </p:nvSpPr>
        <p:spPr/>
        <p:txBody>
          <a:bodyPr/>
          <a:lstStyle/>
          <a:p>
            <a:fld id="{79A12583-2BA6-4C47-A2C9-E00958899204}" type="slidenum">
              <a:rPr lang="en-SG" smtClean="0"/>
              <a:t>‹#›</a:t>
            </a:fld>
            <a:endParaRPr lang="en-SG"/>
          </a:p>
        </p:txBody>
      </p:sp>
    </p:spTree>
    <p:extLst>
      <p:ext uri="{BB962C8B-B14F-4D97-AF65-F5344CB8AC3E}">
        <p14:creationId xmlns:p14="http://schemas.microsoft.com/office/powerpoint/2010/main" val="37653449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3239B-120E-4224-B795-231586783060}"/>
              </a:ext>
            </a:extLst>
          </p:cNvPr>
          <p:cNvSpPr>
            <a:spLocks noGrp="1"/>
          </p:cNvSpPr>
          <p:nvPr>
            <p:ph type="title"/>
          </p:nvPr>
        </p:nvSpPr>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id="{A483C09D-DFD6-42CD-B86D-6413C18BD9B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Content Placeholder 3">
            <a:extLst>
              <a:ext uri="{FF2B5EF4-FFF2-40B4-BE49-F238E27FC236}">
                <a16:creationId xmlns:a16="http://schemas.microsoft.com/office/drawing/2014/main" id="{DEF3E92F-A2D9-4631-956D-148ED64CA6C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Date Placeholder 4">
            <a:extLst>
              <a:ext uri="{FF2B5EF4-FFF2-40B4-BE49-F238E27FC236}">
                <a16:creationId xmlns:a16="http://schemas.microsoft.com/office/drawing/2014/main" id="{2CF84EB2-32CD-425E-B4EC-E1168FD67B2C}"/>
              </a:ext>
            </a:extLst>
          </p:cNvPr>
          <p:cNvSpPr>
            <a:spLocks noGrp="1"/>
          </p:cNvSpPr>
          <p:nvPr>
            <p:ph type="dt" sz="half" idx="10"/>
          </p:nvPr>
        </p:nvSpPr>
        <p:spPr/>
        <p:txBody>
          <a:bodyPr/>
          <a:lstStyle/>
          <a:p>
            <a:fld id="{BB611220-279D-403E-BB1C-55F4E91577FE}" type="datetimeFigureOut">
              <a:rPr lang="en-SG" smtClean="0"/>
              <a:t>11/3/2021</a:t>
            </a:fld>
            <a:endParaRPr lang="en-SG"/>
          </a:p>
        </p:txBody>
      </p:sp>
      <p:sp>
        <p:nvSpPr>
          <p:cNvPr id="6" name="Footer Placeholder 5">
            <a:extLst>
              <a:ext uri="{FF2B5EF4-FFF2-40B4-BE49-F238E27FC236}">
                <a16:creationId xmlns:a16="http://schemas.microsoft.com/office/drawing/2014/main" id="{C989E630-3C97-4893-8B71-E02537DB500B}"/>
              </a:ext>
            </a:extLst>
          </p:cNvPr>
          <p:cNvSpPr>
            <a:spLocks noGrp="1"/>
          </p:cNvSpPr>
          <p:nvPr>
            <p:ph type="ftr" sz="quarter" idx="11"/>
          </p:nvPr>
        </p:nvSpPr>
        <p:spPr/>
        <p:txBody>
          <a:bodyPr/>
          <a:lstStyle/>
          <a:p>
            <a:endParaRPr lang="en-SG"/>
          </a:p>
        </p:txBody>
      </p:sp>
      <p:sp>
        <p:nvSpPr>
          <p:cNvPr id="7" name="Slide Number Placeholder 6">
            <a:extLst>
              <a:ext uri="{FF2B5EF4-FFF2-40B4-BE49-F238E27FC236}">
                <a16:creationId xmlns:a16="http://schemas.microsoft.com/office/drawing/2014/main" id="{5F2F5A14-39BC-456E-9BF8-CF233B2CE546}"/>
              </a:ext>
            </a:extLst>
          </p:cNvPr>
          <p:cNvSpPr>
            <a:spLocks noGrp="1"/>
          </p:cNvSpPr>
          <p:nvPr>
            <p:ph type="sldNum" sz="quarter" idx="12"/>
          </p:nvPr>
        </p:nvSpPr>
        <p:spPr/>
        <p:txBody>
          <a:bodyPr/>
          <a:lstStyle/>
          <a:p>
            <a:fld id="{79A12583-2BA6-4C47-A2C9-E00958899204}" type="slidenum">
              <a:rPr lang="en-SG" smtClean="0"/>
              <a:t>‹#›</a:t>
            </a:fld>
            <a:endParaRPr lang="en-SG"/>
          </a:p>
        </p:txBody>
      </p:sp>
    </p:spTree>
    <p:extLst>
      <p:ext uri="{BB962C8B-B14F-4D97-AF65-F5344CB8AC3E}">
        <p14:creationId xmlns:p14="http://schemas.microsoft.com/office/powerpoint/2010/main" val="34019129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983B1-B666-4872-B3A1-6A2472644051}"/>
              </a:ext>
            </a:extLst>
          </p:cNvPr>
          <p:cNvSpPr>
            <a:spLocks noGrp="1"/>
          </p:cNvSpPr>
          <p:nvPr>
            <p:ph type="title"/>
          </p:nvPr>
        </p:nvSpPr>
        <p:spPr>
          <a:xfrm>
            <a:off x="839788" y="365125"/>
            <a:ext cx="10515600" cy="1325563"/>
          </a:xfrm>
        </p:spPr>
        <p:txBody>
          <a:bodyPr/>
          <a:lstStyle/>
          <a:p>
            <a:r>
              <a:rPr lang="en-US"/>
              <a:t>Click to edit Master title style</a:t>
            </a:r>
            <a:endParaRPr lang="en-SG"/>
          </a:p>
        </p:txBody>
      </p:sp>
      <p:sp>
        <p:nvSpPr>
          <p:cNvPr id="3" name="Text Placeholder 2">
            <a:extLst>
              <a:ext uri="{FF2B5EF4-FFF2-40B4-BE49-F238E27FC236}">
                <a16:creationId xmlns:a16="http://schemas.microsoft.com/office/drawing/2014/main" id="{92373972-C5BA-4588-AFF3-C36606D9B41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F12822E-E3C8-43EC-A915-4C76D10B12F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Text Placeholder 4">
            <a:extLst>
              <a:ext uri="{FF2B5EF4-FFF2-40B4-BE49-F238E27FC236}">
                <a16:creationId xmlns:a16="http://schemas.microsoft.com/office/drawing/2014/main" id="{C086DEEE-0CE8-4113-92BF-EE34A205A3F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169A473-4806-4DB5-B7B5-94ED66C21DF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7" name="Date Placeholder 6">
            <a:extLst>
              <a:ext uri="{FF2B5EF4-FFF2-40B4-BE49-F238E27FC236}">
                <a16:creationId xmlns:a16="http://schemas.microsoft.com/office/drawing/2014/main" id="{079DD3DF-4F3C-44BF-AA3B-B128ACF1B2AC}"/>
              </a:ext>
            </a:extLst>
          </p:cNvPr>
          <p:cNvSpPr>
            <a:spLocks noGrp="1"/>
          </p:cNvSpPr>
          <p:nvPr>
            <p:ph type="dt" sz="half" idx="10"/>
          </p:nvPr>
        </p:nvSpPr>
        <p:spPr/>
        <p:txBody>
          <a:bodyPr/>
          <a:lstStyle/>
          <a:p>
            <a:fld id="{BB611220-279D-403E-BB1C-55F4E91577FE}" type="datetimeFigureOut">
              <a:rPr lang="en-SG" smtClean="0"/>
              <a:t>11/3/2021</a:t>
            </a:fld>
            <a:endParaRPr lang="en-SG"/>
          </a:p>
        </p:txBody>
      </p:sp>
      <p:sp>
        <p:nvSpPr>
          <p:cNvPr id="8" name="Footer Placeholder 7">
            <a:extLst>
              <a:ext uri="{FF2B5EF4-FFF2-40B4-BE49-F238E27FC236}">
                <a16:creationId xmlns:a16="http://schemas.microsoft.com/office/drawing/2014/main" id="{FF50E360-B6ED-4A90-A810-DFE59667B1AF}"/>
              </a:ext>
            </a:extLst>
          </p:cNvPr>
          <p:cNvSpPr>
            <a:spLocks noGrp="1"/>
          </p:cNvSpPr>
          <p:nvPr>
            <p:ph type="ftr" sz="quarter" idx="11"/>
          </p:nvPr>
        </p:nvSpPr>
        <p:spPr/>
        <p:txBody>
          <a:bodyPr/>
          <a:lstStyle/>
          <a:p>
            <a:endParaRPr lang="en-SG"/>
          </a:p>
        </p:txBody>
      </p:sp>
      <p:sp>
        <p:nvSpPr>
          <p:cNvPr id="9" name="Slide Number Placeholder 8">
            <a:extLst>
              <a:ext uri="{FF2B5EF4-FFF2-40B4-BE49-F238E27FC236}">
                <a16:creationId xmlns:a16="http://schemas.microsoft.com/office/drawing/2014/main" id="{14860EFC-E52B-47F4-836F-67D29EEF8D60}"/>
              </a:ext>
            </a:extLst>
          </p:cNvPr>
          <p:cNvSpPr>
            <a:spLocks noGrp="1"/>
          </p:cNvSpPr>
          <p:nvPr>
            <p:ph type="sldNum" sz="quarter" idx="12"/>
          </p:nvPr>
        </p:nvSpPr>
        <p:spPr/>
        <p:txBody>
          <a:bodyPr/>
          <a:lstStyle/>
          <a:p>
            <a:fld id="{79A12583-2BA6-4C47-A2C9-E00958899204}" type="slidenum">
              <a:rPr lang="en-SG" smtClean="0"/>
              <a:t>‹#›</a:t>
            </a:fld>
            <a:endParaRPr lang="en-SG"/>
          </a:p>
        </p:txBody>
      </p:sp>
    </p:spTree>
    <p:extLst>
      <p:ext uri="{BB962C8B-B14F-4D97-AF65-F5344CB8AC3E}">
        <p14:creationId xmlns:p14="http://schemas.microsoft.com/office/powerpoint/2010/main" val="27115436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7386EC-8754-40F8-9354-05B164BADD17}"/>
              </a:ext>
            </a:extLst>
          </p:cNvPr>
          <p:cNvSpPr>
            <a:spLocks noGrp="1"/>
          </p:cNvSpPr>
          <p:nvPr>
            <p:ph type="title"/>
          </p:nvPr>
        </p:nvSpPr>
        <p:spPr/>
        <p:txBody>
          <a:bodyPr/>
          <a:lstStyle/>
          <a:p>
            <a:r>
              <a:rPr lang="en-US"/>
              <a:t>Click to edit Master title style</a:t>
            </a:r>
            <a:endParaRPr lang="en-SG"/>
          </a:p>
        </p:txBody>
      </p:sp>
      <p:sp>
        <p:nvSpPr>
          <p:cNvPr id="3" name="Date Placeholder 2">
            <a:extLst>
              <a:ext uri="{FF2B5EF4-FFF2-40B4-BE49-F238E27FC236}">
                <a16:creationId xmlns:a16="http://schemas.microsoft.com/office/drawing/2014/main" id="{0DD461E3-E12D-4815-8F3C-0635F0E56A72}"/>
              </a:ext>
            </a:extLst>
          </p:cNvPr>
          <p:cNvSpPr>
            <a:spLocks noGrp="1"/>
          </p:cNvSpPr>
          <p:nvPr>
            <p:ph type="dt" sz="half" idx="10"/>
          </p:nvPr>
        </p:nvSpPr>
        <p:spPr/>
        <p:txBody>
          <a:bodyPr/>
          <a:lstStyle/>
          <a:p>
            <a:fld id="{BB611220-279D-403E-BB1C-55F4E91577FE}" type="datetimeFigureOut">
              <a:rPr lang="en-SG" smtClean="0"/>
              <a:t>11/3/2021</a:t>
            </a:fld>
            <a:endParaRPr lang="en-SG"/>
          </a:p>
        </p:txBody>
      </p:sp>
      <p:sp>
        <p:nvSpPr>
          <p:cNvPr id="4" name="Footer Placeholder 3">
            <a:extLst>
              <a:ext uri="{FF2B5EF4-FFF2-40B4-BE49-F238E27FC236}">
                <a16:creationId xmlns:a16="http://schemas.microsoft.com/office/drawing/2014/main" id="{4F35EBAB-AF22-4109-AA03-1789E1FA5CDE}"/>
              </a:ext>
            </a:extLst>
          </p:cNvPr>
          <p:cNvSpPr>
            <a:spLocks noGrp="1"/>
          </p:cNvSpPr>
          <p:nvPr>
            <p:ph type="ftr" sz="quarter" idx="11"/>
          </p:nvPr>
        </p:nvSpPr>
        <p:spPr/>
        <p:txBody>
          <a:bodyPr/>
          <a:lstStyle/>
          <a:p>
            <a:endParaRPr lang="en-SG"/>
          </a:p>
        </p:txBody>
      </p:sp>
      <p:sp>
        <p:nvSpPr>
          <p:cNvPr id="5" name="Slide Number Placeholder 4">
            <a:extLst>
              <a:ext uri="{FF2B5EF4-FFF2-40B4-BE49-F238E27FC236}">
                <a16:creationId xmlns:a16="http://schemas.microsoft.com/office/drawing/2014/main" id="{C291326A-67D8-4D5F-BDA1-23A7AC006A20}"/>
              </a:ext>
            </a:extLst>
          </p:cNvPr>
          <p:cNvSpPr>
            <a:spLocks noGrp="1"/>
          </p:cNvSpPr>
          <p:nvPr>
            <p:ph type="sldNum" sz="quarter" idx="12"/>
          </p:nvPr>
        </p:nvSpPr>
        <p:spPr/>
        <p:txBody>
          <a:bodyPr/>
          <a:lstStyle/>
          <a:p>
            <a:fld id="{79A12583-2BA6-4C47-A2C9-E00958899204}" type="slidenum">
              <a:rPr lang="en-SG" smtClean="0"/>
              <a:t>‹#›</a:t>
            </a:fld>
            <a:endParaRPr lang="en-SG"/>
          </a:p>
        </p:txBody>
      </p:sp>
    </p:spTree>
    <p:extLst>
      <p:ext uri="{BB962C8B-B14F-4D97-AF65-F5344CB8AC3E}">
        <p14:creationId xmlns:p14="http://schemas.microsoft.com/office/powerpoint/2010/main" val="40064750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22D8353-367E-4DF0-9452-C6AE2799B6C9}"/>
              </a:ext>
            </a:extLst>
          </p:cNvPr>
          <p:cNvSpPr>
            <a:spLocks noGrp="1"/>
          </p:cNvSpPr>
          <p:nvPr>
            <p:ph type="dt" sz="half" idx="10"/>
          </p:nvPr>
        </p:nvSpPr>
        <p:spPr/>
        <p:txBody>
          <a:bodyPr/>
          <a:lstStyle/>
          <a:p>
            <a:fld id="{BB611220-279D-403E-BB1C-55F4E91577FE}" type="datetimeFigureOut">
              <a:rPr lang="en-SG" smtClean="0"/>
              <a:t>11/3/2021</a:t>
            </a:fld>
            <a:endParaRPr lang="en-SG"/>
          </a:p>
        </p:txBody>
      </p:sp>
      <p:sp>
        <p:nvSpPr>
          <p:cNvPr id="3" name="Footer Placeholder 2">
            <a:extLst>
              <a:ext uri="{FF2B5EF4-FFF2-40B4-BE49-F238E27FC236}">
                <a16:creationId xmlns:a16="http://schemas.microsoft.com/office/drawing/2014/main" id="{10710CCE-9359-4284-B4A4-75A71476FDA2}"/>
              </a:ext>
            </a:extLst>
          </p:cNvPr>
          <p:cNvSpPr>
            <a:spLocks noGrp="1"/>
          </p:cNvSpPr>
          <p:nvPr>
            <p:ph type="ftr" sz="quarter" idx="11"/>
          </p:nvPr>
        </p:nvSpPr>
        <p:spPr/>
        <p:txBody>
          <a:bodyPr/>
          <a:lstStyle/>
          <a:p>
            <a:endParaRPr lang="en-SG"/>
          </a:p>
        </p:txBody>
      </p:sp>
      <p:sp>
        <p:nvSpPr>
          <p:cNvPr id="4" name="Slide Number Placeholder 3">
            <a:extLst>
              <a:ext uri="{FF2B5EF4-FFF2-40B4-BE49-F238E27FC236}">
                <a16:creationId xmlns:a16="http://schemas.microsoft.com/office/drawing/2014/main" id="{928AB5D0-2A1F-488B-8BCD-E5A31B02F2CA}"/>
              </a:ext>
            </a:extLst>
          </p:cNvPr>
          <p:cNvSpPr>
            <a:spLocks noGrp="1"/>
          </p:cNvSpPr>
          <p:nvPr>
            <p:ph type="sldNum" sz="quarter" idx="12"/>
          </p:nvPr>
        </p:nvSpPr>
        <p:spPr/>
        <p:txBody>
          <a:bodyPr/>
          <a:lstStyle/>
          <a:p>
            <a:fld id="{79A12583-2BA6-4C47-A2C9-E00958899204}" type="slidenum">
              <a:rPr lang="en-SG" smtClean="0"/>
              <a:t>‹#›</a:t>
            </a:fld>
            <a:endParaRPr lang="en-SG"/>
          </a:p>
        </p:txBody>
      </p:sp>
    </p:spTree>
    <p:extLst>
      <p:ext uri="{BB962C8B-B14F-4D97-AF65-F5344CB8AC3E}">
        <p14:creationId xmlns:p14="http://schemas.microsoft.com/office/powerpoint/2010/main" val="26796681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CD200-389A-4FAE-91D4-9DC721CECDC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SG"/>
          </a:p>
        </p:txBody>
      </p:sp>
      <p:sp>
        <p:nvSpPr>
          <p:cNvPr id="3" name="Content Placeholder 2">
            <a:extLst>
              <a:ext uri="{FF2B5EF4-FFF2-40B4-BE49-F238E27FC236}">
                <a16:creationId xmlns:a16="http://schemas.microsoft.com/office/drawing/2014/main" id="{DB6AF5D4-57AF-4647-9724-350BD9AC81F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Text Placeholder 3">
            <a:extLst>
              <a:ext uri="{FF2B5EF4-FFF2-40B4-BE49-F238E27FC236}">
                <a16:creationId xmlns:a16="http://schemas.microsoft.com/office/drawing/2014/main" id="{CAC5F494-F0C0-40C7-87C7-EBB1C72F5EE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715F2D3-9A10-4E56-8787-112902B8E165}"/>
              </a:ext>
            </a:extLst>
          </p:cNvPr>
          <p:cNvSpPr>
            <a:spLocks noGrp="1"/>
          </p:cNvSpPr>
          <p:nvPr>
            <p:ph type="dt" sz="half" idx="10"/>
          </p:nvPr>
        </p:nvSpPr>
        <p:spPr/>
        <p:txBody>
          <a:bodyPr/>
          <a:lstStyle/>
          <a:p>
            <a:fld id="{BB611220-279D-403E-BB1C-55F4E91577FE}" type="datetimeFigureOut">
              <a:rPr lang="en-SG" smtClean="0"/>
              <a:t>11/3/2021</a:t>
            </a:fld>
            <a:endParaRPr lang="en-SG"/>
          </a:p>
        </p:txBody>
      </p:sp>
      <p:sp>
        <p:nvSpPr>
          <p:cNvPr id="6" name="Footer Placeholder 5">
            <a:extLst>
              <a:ext uri="{FF2B5EF4-FFF2-40B4-BE49-F238E27FC236}">
                <a16:creationId xmlns:a16="http://schemas.microsoft.com/office/drawing/2014/main" id="{D6844D22-EBE9-45DA-8846-B0E796234737}"/>
              </a:ext>
            </a:extLst>
          </p:cNvPr>
          <p:cNvSpPr>
            <a:spLocks noGrp="1"/>
          </p:cNvSpPr>
          <p:nvPr>
            <p:ph type="ftr" sz="quarter" idx="11"/>
          </p:nvPr>
        </p:nvSpPr>
        <p:spPr/>
        <p:txBody>
          <a:bodyPr/>
          <a:lstStyle/>
          <a:p>
            <a:endParaRPr lang="en-SG"/>
          </a:p>
        </p:txBody>
      </p:sp>
      <p:sp>
        <p:nvSpPr>
          <p:cNvPr id="7" name="Slide Number Placeholder 6">
            <a:extLst>
              <a:ext uri="{FF2B5EF4-FFF2-40B4-BE49-F238E27FC236}">
                <a16:creationId xmlns:a16="http://schemas.microsoft.com/office/drawing/2014/main" id="{C1F85B42-BC90-4FD8-AD7E-DC9CB9FFF7F6}"/>
              </a:ext>
            </a:extLst>
          </p:cNvPr>
          <p:cNvSpPr>
            <a:spLocks noGrp="1"/>
          </p:cNvSpPr>
          <p:nvPr>
            <p:ph type="sldNum" sz="quarter" idx="12"/>
          </p:nvPr>
        </p:nvSpPr>
        <p:spPr/>
        <p:txBody>
          <a:bodyPr/>
          <a:lstStyle/>
          <a:p>
            <a:fld id="{79A12583-2BA6-4C47-A2C9-E00958899204}" type="slidenum">
              <a:rPr lang="en-SG" smtClean="0"/>
              <a:t>‹#›</a:t>
            </a:fld>
            <a:endParaRPr lang="en-SG"/>
          </a:p>
        </p:txBody>
      </p:sp>
    </p:spTree>
    <p:extLst>
      <p:ext uri="{BB962C8B-B14F-4D97-AF65-F5344CB8AC3E}">
        <p14:creationId xmlns:p14="http://schemas.microsoft.com/office/powerpoint/2010/main" val="39397574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2EC39-93DC-4A8B-A6A8-797F4859BA5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SG"/>
          </a:p>
        </p:txBody>
      </p:sp>
      <p:sp>
        <p:nvSpPr>
          <p:cNvPr id="3" name="Picture Placeholder 2">
            <a:extLst>
              <a:ext uri="{FF2B5EF4-FFF2-40B4-BE49-F238E27FC236}">
                <a16:creationId xmlns:a16="http://schemas.microsoft.com/office/drawing/2014/main" id="{974BD5FB-A99A-4768-878C-1D7338F50DC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G"/>
          </a:p>
        </p:txBody>
      </p:sp>
      <p:sp>
        <p:nvSpPr>
          <p:cNvPr id="4" name="Text Placeholder 3">
            <a:extLst>
              <a:ext uri="{FF2B5EF4-FFF2-40B4-BE49-F238E27FC236}">
                <a16:creationId xmlns:a16="http://schemas.microsoft.com/office/drawing/2014/main" id="{27E4B0D7-2DCE-49D0-96EA-5102B27579C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E3885BC-4C02-47C8-B74E-6753BDA18757}"/>
              </a:ext>
            </a:extLst>
          </p:cNvPr>
          <p:cNvSpPr>
            <a:spLocks noGrp="1"/>
          </p:cNvSpPr>
          <p:nvPr>
            <p:ph type="dt" sz="half" idx="10"/>
          </p:nvPr>
        </p:nvSpPr>
        <p:spPr/>
        <p:txBody>
          <a:bodyPr/>
          <a:lstStyle/>
          <a:p>
            <a:fld id="{BB611220-279D-403E-BB1C-55F4E91577FE}" type="datetimeFigureOut">
              <a:rPr lang="en-SG" smtClean="0"/>
              <a:t>11/3/2021</a:t>
            </a:fld>
            <a:endParaRPr lang="en-SG"/>
          </a:p>
        </p:txBody>
      </p:sp>
      <p:sp>
        <p:nvSpPr>
          <p:cNvPr id="6" name="Footer Placeholder 5">
            <a:extLst>
              <a:ext uri="{FF2B5EF4-FFF2-40B4-BE49-F238E27FC236}">
                <a16:creationId xmlns:a16="http://schemas.microsoft.com/office/drawing/2014/main" id="{996BDD63-4236-4F82-BB6C-47F19BB207B6}"/>
              </a:ext>
            </a:extLst>
          </p:cNvPr>
          <p:cNvSpPr>
            <a:spLocks noGrp="1"/>
          </p:cNvSpPr>
          <p:nvPr>
            <p:ph type="ftr" sz="quarter" idx="11"/>
          </p:nvPr>
        </p:nvSpPr>
        <p:spPr/>
        <p:txBody>
          <a:bodyPr/>
          <a:lstStyle/>
          <a:p>
            <a:endParaRPr lang="en-SG"/>
          </a:p>
        </p:txBody>
      </p:sp>
      <p:sp>
        <p:nvSpPr>
          <p:cNvPr id="7" name="Slide Number Placeholder 6">
            <a:extLst>
              <a:ext uri="{FF2B5EF4-FFF2-40B4-BE49-F238E27FC236}">
                <a16:creationId xmlns:a16="http://schemas.microsoft.com/office/drawing/2014/main" id="{DAE6F202-78EF-4587-A8B7-AFAAED2082F4}"/>
              </a:ext>
            </a:extLst>
          </p:cNvPr>
          <p:cNvSpPr>
            <a:spLocks noGrp="1"/>
          </p:cNvSpPr>
          <p:nvPr>
            <p:ph type="sldNum" sz="quarter" idx="12"/>
          </p:nvPr>
        </p:nvSpPr>
        <p:spPr/>
        <p:txBody>
          <a:bodyPr/>
          <a:lstStyle/>
          <a:p>
            <a:fld id="{79A12583-2BA6-4C47-A2C9-E00958899204}" type="slidenum">
              <a:rPr lang="en-SG" smtClean="0"/>
              <a:t>‹#›</a:t>
            </a:fld>
            <a:endParaRPr lang="en-SG"/>
          </a:p>
        </p:txBody>
      </p:sp>
    </p:spTree>
    <p:extLst>
      <p:ext uri="{BB962C8B-B14F-4D97-AF65-F5344CB8AC3E}">
        <p14:creationId xmlns:p14="http://schemas.microsoft.com/office/powerpoint/2010/main" val="1900747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7B33966-DBE9-46A5-8045-2103DCB8B1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SG"/>
          </a:p>
        </p:txBody>
      </p:sp>
      <p:sp>
        <p:nvSpPr>
          <p:cNvPr id="3" name="Text Placeholder 2">
            <a:extLst>
              <a:ext uri="{FF2B5EF4-FFF2-40B4-BE49-F238E27FC236}">
                <a16:creationId xmlns:a16="http://schemas.microsoft.com/office/drawing/2014/main" id="{4FD94B9A-EE4C-4805-9C05-4BE896B79D1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68301A8E-A099-4C51-AAD3-F9D88972DA2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611220-279D-403E-BB1C-55F4E91577FE}" type="datetimeFigureOut">
              <a:rPr lang="en-SG" smtClean="0"/>
              <a:t>11/3/2021</a:t>
            </a:fld>
            <a:endParaRPr lang="en-SG"/>
          </a:p>
        </p:txBody>
      </p:sp>
      <p:sp>
        <p:nvSpPr>
          <p:cNvPr id="5" name="Footer Placeholder 4">
            <a:extLst>
              <a:ext uri="{FF2B5EF4-FFF2-40B4-BE49-F238E27FC236}">
                <a16:creationId xmlns:a16="http://schemas.microsoft.com/office/drawing/2014/main" id="{A15260FB-739B-4C16-BB8A-F60D0CEEAFA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SG"/>
          </a:p>
        </p:txBody>
      </p:sp>
      <p:sp>
        <p:nvSpPr>
          <p:cNvPr id="6" name="Slide Number Placeholder 5">
            <a:extLst>
              <a:ext uri="{FF2B5EF4-FFF2-40B4-BE49-F238E27FC236}">
                <a16:creationId xmlns:a16="http://schemas.microsoft.com/office/drawing/2014/main" id="{BF90D2E0-A869-4F34-901A-0183752DC51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9A12583-2BA6-4C47-A2C9-E00958899204}" type="slidenum">
              <a:rPr lang="en-SG" smtClean="0"/>
              <a:t>‹#›</a:t>
            </a:fld>
            <a:endParaRPr lang="en-SG"/>
          </a:p>
        </p:txBody>
      </p:sp>
    </p:spTree>
    <p:extLst>
      <p:ext uri="{BB962C8B-B14F-4D97-AF65-F5344CB8AC3E}">
        <p14:creationId xmlns:p14="http://schemas.microsoft.com/office/powerpoint/2010/main" val="40276165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38.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1.png"/></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3" Type="http://schemas.openxmlformats.org/officeDocument/2006/relationships/image" Target="../media/image24.png"/><Relationship Id="rId7" Type="http://schemas.openxmlformats.org/officeDocument/2006/relationships/image" Target="../media/image27.svg"/><Relationship Id="rId12"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39.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1.png"/><Relationship Id="rId10" Type="http://schemas.openxmlformats.org/officeDocument/2006/relationships/image" Target="../media/image30.png"/><Relationship Id="rId4" Type="http://schemas.openxmlformats.org/officeDocument/2006/relationships/image" Target="../media/image25.svg"/><Relationship Id="rId9" Type="http://schemas.openxmlformats.org/officeDocument/2006/relationships/image" Target="../media/image29.svg"/></Relationships>
</file>

<file path=ppt/slides/_rels/slide13.xml.rels><?xml version="1.0" encoding="UTF-8" standalone="yes"?>
<Relationships xmlns="http://schemas.openxmlformats.org/package/2006/relationships"><Relationship Id="rId8" Type="http://schemas.openxmlformats.org/officeDocument/2006/relationships/image" Target="../media/image1.png"/><Relationship Id="rId13" Type="http://schemas.openxmlformats.org/officeDocument/2006/relationships/image" Target="../media/image32.png"/><Relationship Id="rId3" Type="http://schemas.openxmlformats.org/officeDocument/2006/relationships/notesSlide" Target="../notesSlides/notesSlide9.xml"/><Relationship Id="rId7" Type="http://schemas.openxmlformats.org/officeDocument/2006/relationships/image" Target="../media/image27.svg"/><Relationship Id="rId12" Type="http://schemas.openxmlformats.org/officeDocument/2006/relationships/image" Target="../media/image25.svg"/><Relationship Id="rId2" Type="http://schemas.openxmlformats.org/officeDocument/2006/relationships/slideLayout" Target="../slideLayouts/slideLayout2.xml"/><Relationship Id="rId1" Type="http://schemas.openxmlformats.org/officeDocument/2006/relationships/tags" Target="../tags/tag40.xml"/><Relationship Id="rId6" Type="http://schemas.openxmlformats.org/officeDocument/2006/relationships/image" Target="../media/image26.png"/><Relationship Id="rId11" Type="http://schemas.openxmlformats.org/officeDocument/2006/relationships/image" Target="../media/image24.png"/><Relationship Id="rId5" Type="http://schemas.openxmlformats.org/officeDocument/2006/relationships/image" Target="../media/image29.svg"/><Relationship Id="rId10" Type="http://schemas.openxmlformats.org/officeDocument/2006/relationships/image" Target="../media/image31.svg"/><Relationship Id="rId4" Type="http://schemas.openxmlformats.org/officeDocument/2006/relationships/image" Target="../media/image28.png"/><Relationship Id="rId9" Type="http://schemas.openxmlformats.org/officeDocument/2006/relationships/image" Target="../media/image30.png"/><Relationship Id="rId14" Type="http://schemas.openxmlformats.org/officeDocument/2006/relationships/image" Target="../media/image33.svg"/></Relationships>
</file>

<file path=ppt/slides/_rels/slide14.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34.png"/><Relationship Id="rId7"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35.svg"/><Relationship Id="rId9" Type="http://schemas.openxmlformats.org/officeDocument/2006/relationships/image" Target="../media/image1.png"/></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37.svg"/><Relationship Id="rId7" Type="http://schemas.openxmlformats.org/officeDocument/2006/relationships/image" Target="../media/image29.svg"/><Relationship Id="rId2" Type="http://schemas.openxmlformats.org/officeDocument/2006/relationships/image" Target="../media/image36.png"/><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35.svg"/><Relationship Id="rId10" Type="http://schemas.openxmlformats.org/officeDocument/2006/relationships/image" Target="../media/image1.png"/><Relationship Id="rId4" Type="http://schemas.openxmlformats.org/officeDocument/2006/relationships/image" Target="../media/image34.png"/><Relationship Id="rId9" Type="http://schemas.openxmlformats.org/officeDocument/2006/relationships/image" Target="../media/image27.svg"/></Relationships>
</file>

<file path=ppt/slides/_rels/slide16.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17.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3.svg"/><Relationship Id="rId18" Type="http://schemas.openxmlformats.org/officeDocument/2006/relationships/image" Target="../media/image44.png"/><Relationship Id="rId3" Type="http://schemas.openxmlformats.org/officeDocument/2006/relationships/image" Target="../media/image1.png"/><Relationship Id="rId7" Type="http://schemas.openxmlformats.org/officeDocument/2006/relationships/image" Target="../media/image29.svg"/><Relationship Id="rId12" Type="http://schemas.openxmlformats.org/officeDocument/2006/relationships/image" Target="../media/image32.png"/><Relationship Id="rId17" Type="http://schemas.openxmlformats.org/officeDocument/2006/relationships/image" Target="../media/image43.svg"/><Relationship Id="rId2" Type="http://schemas.openxmlformats.org/officeDocument/2006/relationships/notesSlide" Target="../notesSlides/notesSlide11.xml"/><Relationship Id="rId16" Type="http://schemas.openxmlformats.org/officeDocument/2006/relationships/image" Target="../media/image42.png"/><Relationship Id="rId1" Type="http://schemas.openxmlformats.org/officeDocument/2006/relationships/slideLayout" Target="../slideLayouts/slideLayout2.xml"/><Relationship Id="rId6" Type="http://schemas.openxmlformats.org/officeDocument/2006/relationships/image" Target="../media/image28.png"/><Relationship Id="rId11" Type="http://schemas.openxmlformats.org/officeDocument/2006/relationships/image" Target="../media/image39.svg"/><Relationship Id="rId5" Type="http://schemas.openxmlformats.org/officeDocument/2006/relationships/image" Target="../media/image35.svg"/><Relationship Id="rId15" Type="http://schemas.openxmlformats.org/officeDocument/2006/relationships/image" Target="../media/image41.svg"/><Relationship Id="rId10" Type="http://schemas.openxmlformats.org/officeDocument/2006/relationships/image" Target="../media/image38.png"/><Relationship Id="rId4" Type="http://schemas.openxmlformats.org/officeDocument/2006/relationships/image" Target="../media/image34.png"/><Relationship Id="rId9" Type="http://schemas.openxmlformats.org/officeDocument/2006/relationships/image" Target="../media/image27.svg"/><Relationship Id="rId14" Type="http://schemas.openxmlformats.org/officeDocument/2006/relationships/image" Target="../media/image40.png"/></Relationships>
</file>

<file path=ppt/slides/_rels/slide18.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3.svg"/><Relationship Id="rId3" Type="http://schemas.openxmlformats.org/officeDocument/2006/relationships/image" Target="../media/image1.png"/><Relationship Id="rId7" Type="http://schemas.openxmlformats.org/officeDocument/2006/relationships/image" Target="../media/image29.svg"/><Relationship Id="rId12"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28.png"/><Relationship Id="rId11" Type="http://schemas.openxmlformats.org/officeDocument/2006/relationships/image" Target="../media/image39.svg"/><Relationship Id="rId5" Type="http://schemas.openxmlformats.org/officeDocument/2006/relationships/image" Target="../media/image35.svg"/><Relationship Id="rId15" Type="http://schemas.openxmlformats.org/officeDocument/2006/relationships/image" Target="../media/image46.svg"/><Relationship Id="rId10" Type="http://schemas.openxmlformats.org/officeDocument/2006/relationships/image" Target="../media/image38.png"/><Relationship Id="rId4" Type="http://schemas.openxmlformats.org/officeDocument/2006/relationships/image" Target="../media/image34.png"/><Relationship Id="rId9" Type="http://schemas.openxmlformats.org/officeDocument/2006/relationships/image" Target="../media/image27.svg"/><Relationship Id="rId14" Type="http://schemas.openxmlformats.org/officeDocument/2006/relationships/image" Target="../media/image45.png"/></Relationships>
</file>

<file path=ppt/slides/_rels/slide19.xml.rels><?xml version="1.0" encoding="UTF-8" standalone="yes"?>
<Relationships xmlns="http://schemas.openxmlformats.org/package/2006/relationships"><Relationship Id="rId8" Type="http://schemas.openxmlformats.org/officeDocument/2006/relationships/image" Target="../media/image1.png"/><Relationship Id="rId13" Type="http://schemas.openxmlformats.org/officeDocument/2006/relationships/image" Target="../media/image26.png"/><Relationship Id="rId3" Type="http://schemas.openxmlformats.org/officeDocument/2006/relationships/image" Target="../media/image47.png"/><Relationship Id="rId7" Type="http://schemas.openxmlformats.org/officeDocument/2006/relationships/image" Target="../media/image33.svg"/><Relationship Id="rId12" Type="http://schemas.openxmlformats.org/officeDocument/2006/relationships/image" Target="../media/image29.svg"/><Relationship Id="rId17" Type="http://schemas.openxmlformats.org/officeDocument/2006/relationships/image" Target="../media/image48.png"/><Relationship Id="rId2" Type="http://schemas.openxmlformats.org/officeDocument/2006/relationships/notesSlide" Target="../notesSlides/notesSlide13.xml"/><Relationship Id="rId16" Type="http://schemas.openxmlformats.org/officeDocument/2006/relationships/image" Target="../media/image46.svg"/><Relationship Id="rId1" Type="http://schemas.openxmlformats.org/officeDocument/2006/relationships/slideLayout" Target="../slideLayouts/slideLayout2.xml"/><Relationship Id="rId6" Type="http://schemas.openxmlformats.org/officeDocument/2006/relationships/image" Target="../media/image32.png"/><Relationship Id="rId11" Type="http://schemas.openxmlformats.org/officeDocument/2006/relationships/image" Target="../media/image28.png"/><Relationship Id="rId5" Type="http://schemas.openxmlformats.org/officeDocument/2006/relationships/image" Target="../media/image39.svg"/><Relationship Id="rId15" Type="http://schemas.openxmlformats.org/officeDocument/2006/relationships/image" Target="../media/image45.png"/><Relationship Id="rId10" Type="http://schemas.openxmlformats.org/officeDocument/2006/relationships/image" Target="../media/image35.svg"/><Relationship Id="rId4" Type="http://schemas.openxmlformats.org/officeDocument/2006/relationships/image" Target="../media/image38.png"/><Relationship Id="rId9" Type="http://schemas.openxmlformats.org/officeDocument/2006/relationships/image" Target="../media/image34.png"/><Relationship Id="rId14" Type="http://schemas.openxmlformats.org/officeDocument/2006/relationships/image" Target="../media/image27.svg"/></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11.svg"/><Relationship Id="rId18" Type="http://schemas.openxmlformats.org/officeDocument/2006/relationships/image" Target="../media/image16.png"/><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notesSlide" Target="../notesSlides/notesSlide2.xml"/><Relationship Id="rId16" Type="http://schemas.openxmlformats.org/officeDocument/2006/relationships/image" Target="../media/image14.png"/><Relationship Id="rId1" Type="http://schemas.openxmlformats.org/officeDocument/2006/relationships/slideLayout" Target="../slideLayouts/slideLayout1.xml"/><Relationship Id="rId6" Type="http://schemas.openxmlformats.org/officeDocument/2006/relationships/image" Target="../media/image5.svg"/><Relationship Id="rId11" Type="http://schemas.openxmlformats.org/officeDocument/2006/relationships/image" Target="../media/image1.png"/><Relationship Id="rId5" Type="http://schemas.openxmlformats.org/officeDocument/2006/relationships/image" Target="../media/image4.png"/><Relationship Id="rId15" Type="http://schemas.openxmlformats.org/officeDocument/2006/relationships/image" Target="../media/image13.svg"/><Relationship Id="rId10" Type="http://schemas.openxmlformats.org/officeDocument/2006/relationships/image" Target="../media/image9.svg"/><Relationship Id="rId19" Type="http://schemas.openxmlformats.org/officeDocument/2006/relationships/image" Target="../media/image17.svg"/><Relationship Id="rId4" Type="http://schemas.openxmlformats.org/officeDocument/2006/relationships/image" Target="../media/image3.svg"/><Relationship Id="rId9" Type="http://schemas.openxmlformats.org/officeDocument/2006/relationships/image" Target="../media/image8.png"/><Relationship Id="rId14" Type="http://schemas.openxmlformats.org/officeDocument/2006/relationships/image" Target="../media/image12.png"/></Relationships>
</file>

<file path=ppt/slides/_rels/slide20.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27.svg"/><Relationship Id="rId3" Type="http://schemas.openxmlformats.org/officeDocument/2006/relationships/image" Target="../media/image38.png"/><Relationship Id="rId7" Type="http://schemas.openxmlformats.org/officeDocument/2006/relationships/image" Target="../media/image1.png"/><Relationship Id="rId12" Type="http://schemas.openxmlformats.org/officeDocument/2006/relationships/image" Target="../media/image26.png"/><Relationship Id="rId2" Type="http://schemas.openxmlformats.org/officeDocument/2006/relationships/notesSlide" Target="../notesSlides/notesSlide14.xml"/><Relationship Id="rId16" Type="http://schemas.openxmlformats.org/officeDocument/2006/relationships/image" Target="../media/image51.png"/><Relationship Id="rId1" Type="http://schemas.openxmlformats.org/officeDocument/2006/relationships/slideLayout" Target="../slideLayouts/slideLayout2.xml"/><Relationship Id="rId6" Type="http://schemas.openxmlformats.org/officeDocument/2006/relationships/image" Target="../media/image33.svg"/><Relationship Id="rId11" Type="http://schemas.openxmlformats.org/officeDocument/2006/relationships/image" Target="../media/image29.svg"/><Relationship Id="rId5" Type="http://schemas.openxmlformats.org/officeDocument/2006/relationships/image" Target="../media/image32.png"/><Relationship Id="rId15" Type="http://schemas.openxmlformats.org/officeDocument/2006/relationships/image" Target="../media/image50.png"/><Relationship Id="rId10" Type="http://schemas.openxmlformats.org/officeDocument/2006/relationships/image" Target="../media/image28.png"/><Relationship Id="rId4" Type="http://schemas.openxmlformats.org/officeDocument/2006/relationships/image" Target="../media/image39.svg"/><Relationship Id="rId9" Type="http://schemas.openxmlformats.org/officeDocument/2006/relationships/image" Target="../media/image35.svg"/><Relationship Id="rId14" Type="http://schemas.openxmlformats.org/officeDocument/2006/relationships/image" Target="../media/image49.png"/></Relationships>
</file>

<file path=ppt/slides/_rels/slide21.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34.png"/><Relationship Id="rId18" Type="http://schemas.openxmlformats.org/officeDocument/2006/relationships/image" Target="../media/image27.svg"/><Relationship Id="rId26" Type="http://schemas.openxmlformats.org/officeDocument/2006/relationships/image" Target="../media/image58.svg"/><Relationship Id="rId3" Type="http://schemas.openxmlformats.org/officeDocument/2006/relationships/image" Target="../media/image40.png"/><Relationship Id="rId21" Type="http://schemas.openxmlformats.org/officeDocument/2006/relationships/image" Target="../media/image51.png"/><Relationship Id="rId7" Type="http://schemas.openxmlformats.org/officeDocument/2006/relationships/image" Target="../media/image53.png"/><Relationship Id="rId12" Type="http://schemas.openxmlformats.org/officeDocument/2006/relationships/image" Target="../media/image1.png"/><Relationship Id="rId17" Type="http://schemas.openxmlformats.org/officeDocument/2006/relationships/image" Target="../media/image26.png"/><Relationship Id="rId25" Type="http://schemas.openxmlformats.org/officeDocument/2006/relationships/image" Target="../media/image57.png"/><Relationship Id="rId2" Type="http://schemas.openxmlformats.org/officeDocument/2006/relationships/notesSlide" Target="../notesSlides/notesSlide15.xml"/><Relationship Id="rId16" Type="http://schemas.openxmlformats.org/officeDocument/2006/relationships/image" Target="../media/image29.svg"/><Relationship Id="rId20" Type="http://schemas.openxmlformats.org/officeDocument/2006/relationships/image" Target="../media/image50.png"/><Relationship Id="rId29" Type="http://schemas.openxmlformats.org/officeDocument/2006/relationships/image" Target="../media/image61.svg"/><Relationship Id="rId1" Type="http://schemas.openxmlformats.org/officeDocument/2006/relationships/slideLayout" Target="../slideLayouts/slideLayout2.xml"/><Relationship Id="rId6" Type="http://schemas.openxmlformats.org/officeDocument/2006/relationships/image" Target="../media/image43.svg"/><Relationship Id="rId11" Type="http://schemas.openxmlformats.org/officeDocument/2006/relationships/image" Target="../media/image33.svg"/><Relationship Id="rId24" Type="http://schemas.openxmlformats.org/officeDocument/2006/relationships/image" Target="../media/image56.svg"/><Relationship Id="rId5" Type="http://schemas.openxmlformats.org/officeDocument/2006/relationships/image" Target="../media/image52.png"/><Relationship Id="rId15" Type="http://schemas.openxmlformats.org/officeDocument/2006/relationships/image" Target="../media/image28.png"/><Relationship Id="rId23" Type="http://schemas.openxmlformats.org/officeDocument/2006/relationships/image" Target="../media/image55.png"/><Relationship Id="rId28" Type="http://schemas.openxmlformats.org/officeDocument/2006/relationships/image" Target="../media/image60.png"/><Relationship Id="rId10" Type="http://schemas.openxmlformats.org/officeDocument/2006/relationships/image" Target="../media/image32.png"/><Relationship Id="rId19" Type="http://schemas.openxmlformats.org/officeDocument/2006/relationships/image" Target="../media/image49.png"/><Relationship Id="rId4" Type="http://schemas.openxmlformats.org/officeDocument/2006/relationships/image" Target="../media/image41.svg"/><Relationship Id="rId9" Type="http://schemas.openxmlformats.org/officeDocument/2006/relationships/image" Target="../media/image39.svg"/><Relationship Id="rId14" Type="http://schemas.openxmlformats.org/officeDocument/2006/relationships/image" Target="../media/image35.svg"/><Relationship Id="rId22" Type="http://schemas.openxmlformats.org/officeDocument/2006/relationships/image" Target="../media/image54.png"/><Relationship Id="rId27" Type="http://schemas.openxmlformats.org/officeDocument/2006/relationships/image" Target="../media/image59.svg"/><Relationship Id="rId30" Type="http://schemas.openxmlformats.org/officeDocument/2006/relationships/image" Target="../media/image62.svg"/></Relationships>
</file>

<file path=ppt/slides/_rels/slide22.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35.svg"/><Relationship Id="rId18" Type="http://schemas.openxmlformats.org/officeDocument/2006/relationships/image" Target="../media/image57.png"/><Relationship Id="rId3" Type="http://schemas.openxmlformats.org/officeDocument/2006/relationships/image" Target="../media/image36.png"/><Relationship Id="rId21" Type="http://schemas.openxmlformats.org/officeDocument/2006/relationships/image" Target="../media/image60.png"/><Relationship Id="rId7" Type="http://schemas.openxmlformats.org/officeDocument/2006/relationships/image" Target="../media/image29.svg"/><Relationship Id="rId12" Type="http://schemas.openxmlformats.org/officeDocument/2006/relationships/image" Target="../media/image34.png"/><Relationship Id="rId17" Type="http://schemas.openxmlformats.org/officeDocument/2006/relationships/image" Target="../media/image56.svg"/><Relationship Id="rId2" Type="http://schemas.openxmlformats.org/officeDocument/2006/relationships/notesSlide" Target="../notesSlides/notesSlide16.xml"/><Relationship Id="rId16" Type="http://schemas.openxmlformats.org/officeDocument/2006/relationships/image" Target="../media/image55.png"/><Relationship Id="rId20" Type="http://schemas.openxmlformats.org/officeDocument/2006/relationships/image" Target="../media/image59.svg"/><Relationship Id="rId1" Type="http://schemas.openxmlformats.org/officeDocument/2006/relationships/slideLayout" Target="../slideLayouts/slideLayout2.xml"/><Relationship Id="rId6" Type="http://schemas.openxmlformats.org/officeDocument/2006/relationships/image" Target="../media/image28.png"/><Relationship Id="rId11" Type="http://schemas.openxmlformats.org/officeDocument/2006/relationships/image" Target="../media/image33.svg"/><Relationship Id="rId5" Type="http://schemas.openxmlformats.org/officeDocument/2006/relationships/image" Target="../media/image1.png"/><Relationship Id="rId15" Type="http://schemas.openxmlformats.org/officeDocument/2006/relationships/image" Target="../media/image27.svg"/><Relationship Id="rId23" Type="http://schemas.openxmlformats.org/officeDocument/2006/relationships/image" Target="../media/image62.svg"/><Relationship Id="rId10" Type="http://schemas.openxmlformats.org/officeDocument/2006/relationships/image" Target="../media/image32.png"/><Relationship Id="rId19" Type="http://schemas.openxmlformats.org/officeDocument/2006/relationships/image" Target="../media/image58.svg"/><Relationship Id="rId4" Type="http://schemas.openxmlformats.org/officeDocument/2006/relationships/image" Target="../media/image37.svg"/><Relationship Id="rId9" Type="http://schemas.openxmlformats.org/officeDocument/2006/relationships/image" Target="../media/image39.svg"/><Relationship Id="rId14" Type="http://schemas.openxmlformats.org/officeDocument/2006/relationships/image" Target="../media/image26.png"/><Relationship Id="rId22" Type="http://schemas.openxmlformats.org/officeDocument/2006/relationships/image" Target="../media/image61.svg"/></Relationships>
</file>

<file path=ppt/slides/_rels/slide23.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24.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6.svg"/><Relationship Id="rId3" Type="http://schemas.openxmlformats.org/officeDocument/2006/relationships/image" Target="../media/image1.png"/><Relationship Id="rId7" Type="http://schemas.openxmlformats.org/officeDocument/2006/relationships/image" Target="../media/image59.svg"/><Relationship Id="rId12"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57.png"/><Relationship Id="rId11" Type="http://schemas.openxmlformats.org/officeDocument/2006/relationships/image" Target="../media/image64.svg"/><Relationship Id="rId5" Type="http://schemas.openxmlformats.org/officeDocument/2006/relationships/image" Target="../media/image56.svg"/><Relationship Id="rId15" Type="http://schemas.openxmlformats.org/officeDocument/2006/relationships/image" Target="../media/image33.svg"/><Relationship Id="rId10" Type="http://schemas.openxmlformats.org/officeDocument/2006/relationships/image" Target="../media/image63.png"/><Relationship Id="rId4" Type="http://schemas.openxmlformats.org/officeDocument/2006/relationships/image" Target="../media/image55.png"/><Relationship Id="rId9" Type="http://schemas.openxmlformats.org/officeDocument/2006/relationships/image" Target="../media/image62.svg"/><Relationship Id="rId14" Type="http://schemas.openxmlformats.org/officeDocument/2006/relationships/image" Target="../media/image32.png"/></Relationships>
</file>

<file path=ppt/slides/_rels/slide25.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6.svg"/><Relationship Id="rId3" Type="http://schemas.openxmlformats.org/officeDocument/2006/relationships/image" Target="../media/image55.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33.svg"/><Relationship Id="rId2" Type="http://schemas.openxmlformats.org/officeDocument/2006/relationships/notesSlide" Target="../notesSlides/notesSlide18.xml"/><Relationship Id="rId16" Type="http://schemas.openxmlformats.org/officeDocument/2006/relationships/image" Target="../media/image32.png"/><Relationship Id="rId1" Type="http://schemas.openxmlformats.org/officeDocument/2006/relationships/slideLayout" Target="../slideLayouts/slideLayout2.xml"/><Relationship Id="rId6" Type="http://schemas.openxmlformats.org/officeDocument/2006/relationships/image" Target="../media/image59.svg"/><Relationship Id="rId11" Type="http://schemas.openxmlformats.org/officeDocument/2006/relationships/image" Target="../media/image64.svg"/><Relationship Id="rId5" Type="http://schemas.openxmlformats.org/officeDocument/2006/relationships/image" Target="../media/image57.png"/><Relationship Id="rId15" Type="http://schemas.openxmlformats.org/officeDocument/2006/relationships/image" Target="../media/image68.svg"/><Relationship Id="rId10" Type="http://schemas.openxmlformats.org/officeDocument/2006/relationships/image" Target="../media/image63.png"/><Relationship Id="rId4" Type="http://schemas.openxmlformats.org/officeDocument/2006/relationships/image" Target="../media/image56.svg"/><Relationship Id="rId9" Type="http://schemas.openxmlformats.org/officeDocument/2006/relationships/image" Target="../media/image1.png"/><Relationship Id="rId14" Type="http://schemas.openxmlformats.org/officeDocument/2006/relationships/image" Target="../media/image67.png"/></Relationships>
</file>

<file path=ppt/slides/_rels/slide26.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66.svg"/><Relationship Id="rId5" Type="http://schemas.openxmlformats.org/officeDocument/2006/relationships/image" Target="../media/image65.png"/><Relationship Id="rId10" Type="http://schemas.openxmlformats.org/officeDocument/2006/relationships/image" Target="../media/image33.svg"/><Relationship Id="rId4" Type="http://schemas.openxmlformats.org/officeDocument/2006/relationships/image" Target="../media/image64.svg"/><Relationship Id="rId9" Type="http://schemas.openxmlformats.org/officeDocument/2006/relationships/image" Target="../media/image32.png"/></Relationships>
</file>

<file path=ppt/slides/_rels/slide27.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66.svg"/><Relationship Id="rId5" Type="http://schemas.openxmlformats.org/officeDocument/2006/relationships/image" Target="../media/image65.png"/><Relationship Id="rId10" Type="http://schemas.openxmlformats.org/officeDocument/2006/relationships/image" Target="../media/image33.svg"/><Relationship Id="rId4" Type="http://schemas.openxmlformats.org/officeDocument/2006/relationships/image" Target="../media/image64.svg"/><Relationship Id="rId9" Type="http://schemas.openxmlformats.org/officeDocument/2006/relationships/image" Target="../media/image32.png"/></Relationships>
</file>

<file path=ppt/slides/_rels/slide28.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6.svg"/><Relationship Id="rId18" Type="http://schemas.openxmlformats.org/officeDocument/2006/relationships/image" Target="../media/image71.png"/><Relationship Id="rId3" Type="http://schemas.openxmlformats.org/officeDocument/2006/relationships/image" Target="../media/image55.png"/><Relationship Id="rId21" Type="http://schemas.openxmlformats.org/officeDocument/2006/relationships/image" Target="../media/image33.sv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svg"/><Relationship Id="rId2" Type="http://schemas.openxmlformats.org/officeDocument/2006/relationships/notesSlide" Target="../notesSlides/notesSlide19.xml"/><Relationship Id="rId16" Type="http://schemas.openxmlformats.org/officeDocument/2006/relationships/image" Target="../media/image69.png"/><Relationship Id="rId20" Type="http://schemas.openxmlformats.org/officeDocument/2006/relationships/image" Target="../media/image32.png"/><Relationship Id="rId1" Type="http://schemas.openxmlformats.org/officeDocument/2006/relationships/slideLayout" Target="../slideLayouts/slideLayout2.xml"/><Relationship Id="rId6" Type="http://schemas.openxmlformats.org/officeDocument/2006/relationships/image" Target="../media/image59.svg"/><Relationship Id="rId11" Type="http://schemas.openxmlformats.org/officeDocument/2006/relationships/image" Target="../media/image64.svg"/><Relationship Id="rId5" Type="http://schemas.openxmlformats.org/officeDocument/2006/relationships/image" Target="../media/image57.png"/><Relationship Id="rId15" Type="http://schemas.openxmlformats.org/officeDocument/2006/relationships/image" Target="../media/image68.svg"/><Relationship Id="rId10" Type="http://schemas.openxmlformats.org/officeDocument/2006/relationships/image" Target="../media/image63.png"/><Relationship Id="rId19" Type="http://schemas.openxmlformats.org/officeDocument/2006/relationships/image" Target="../media/image72.svg"/><Relationship Id="rId4" Type="http://schemas.openxmlformats.org/officeDocument/2006/relationships/image" Target="../media/image56.svg"/><Relationship Id="rId9" Type="http://schemas.openxmlformats.org/officeDocument/2006/relationships/image" Target="../media/image1.png"/><Relationship Id="rId14" Type="http://schemas.openxmlformats.org/officeDocument/2006/relationships/image" Target="../media/image67.png"/><Relationship Id="rId22" Type="http://schemas.openxmlformats.org/officeDocument/2006/relationships/image" Target="../media/image73.png"/></Relationships>
</file>

<file path=ppt/slides/_rels/slide29.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6.svg"/><Relationship Id="rId18" Type="http://schemas.openxmlformats.org/officeDocument/2006/relationships/image" Target="../media/image32.png"/><Relationship Id="rId3" Type="http://schemas.openxmlformats.org/officeDocument/2006/relationships/image" Target="../media/image55.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2.svg"/><Relationship Id="rId2" Type="http://schemas.openxmlformats.org/officeDocument/2006/relationships/notesSlide" Target="../notesSlides/notesSlide20.xml"/><Relationship Id="rId16" Type="http://schemas.openxmlformats.org/officeDocument/2006/relationships/image" Target="../media/image71.png"/><Relationship Id="rId1" Type="http://schemas.openxmlformats.org/officeDocument/2006/relationships/slideLayout" Target="../slideLayouts/slideLayout2.xml"/><Relationship Id="rId6" Type="http://schemas.openxmlformats.org/officeDocument/2006/relationships/image" Target="../media/image59.svg"/><Relationship Id="rId11" Type="http://schemas.openxmlformats.org/officeDocument/2006/relationships/image" Target="../media/image64.svg"/><Relationship Id="rId5" Type="http://schemas.openxmlformats.org/officeDocument/2006/relationships/image" Target="../media/image57.png"/><Relationship Id="rId15" Type="http://schemas.openxmlformats.org/officeDocument/2006/relationships/image" Target="../media/image70.svg"/><Relationship Id="rId10" Type="http://schemas.openxmlformats.org/officeDocument/2006/relationships/image" Target="../media/image63.png"/><Relationship Id="rId19" Type="http://schemas.openxmlformats.org/officeDocument/2006/relationships/image" Target="../media/image33.svg"/><Relationship Id="rId4" Type="http://schemas.openxmlformats.org/officeDocument/2006/relationships/image" Target="../media/image56.svg"/><Relationship Id="rId9" Type="http://schemas.openxmlformats.org/officeDocument/2006/relationships/image" Target="../media/image1.png"/><Relationship Id="rId14" Type="http://schemas.openxmlformats.org/officeDocument/2006/relationships/image" Target="../media/image69.png"/></Relationships>
</file>

<file path=ppt/slides/_rels/slide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xml"/><Relationship Id="rId7" Type="http://schemas.openxmlformats.org/officeDocument/2006/relationships/notesSlide" Target="../notesSlides/notesSlide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xml"/><Relationship Id="rId5" Type="http://schemas.openxmlformats.org/officeDocument/2006/relationships/tags" Target="../tags/tag5.xml"/><Relationship Id="rId4" Type="http://schemas.openxmlformats.org/officeDocument/2006/relationships/tags" Target="../tags/tag4.xml"/></Relationships>
</file>

<file path=ppt/slides/_rels/slide30.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70.svg"/><Relationship Id="rId18" Type="http://schemas.openxmlformats.org/officeDocument/2006/relationships/image" Target="../media/image32.png"/><Relationship Id="rId3" Type="http://schemas.openxmlformats.org/officeDocument/2006/relationships/image" Target="../media/image55.png"/><Relationship Id="rId21" Type="http://schemas.openxmlformats.org/officeDocument/2006/relationships/image" Target="../media/image50.png"/><Relationship Id="rId7" Type="http://schemas.openxmlformats.org/officeDocument/2006/relationships/image" Target="../media/image60.png"/><Relationship Id="rId12" Type="http://schemas.openxmlformats.org/officeDocument/2006/relationships/image" Target="../media/image69.png"/><Relationship Id="rId17" Type="http://schemas.openxmlformats.org/officeDocument/2006/relationships/image" Target="../media/image72.svg"/><Relationship Id="rId2" Type="http://schemas.openxmlformats.org/officeDocument/2006/relationships/notesSlide" Target="../notesSlides/notesSlide21.xml"/><Relationship Id="rId16" Type="http://schemas.openxmlformats.org/officeDocument/2006/relationships/image" Target="../media/image71.png"/><Relationship Id="rId20" Type="http://schemas.openxmlformats.org/officeDocument/2006/relationships/image" Target="../media/image73.png"/><Relationship Id="rId1" Type="http://schemas.openxmlformats.org/officeDocument/2006/relationships/slideLayout" Target="../slideLayouts/slideLayout2.xml"/><Relationship Id="rId6" Type="http://schemas.openxmlformats.org/officeDocument/2006/relationships/image" Target="../media/image59.svg"/><Relationship Id="rId11" Type="http://schemas.openxmlformats.org/officeDocument/2006/relationships/image" Target="../media/image1.png"/><Relationship Id="rId5" Type="http://schemas.openxmlformats.org/officeDocument/2006/relationships/image" Target="../media/image57.png"/><Relationship Id="rId15" Type="http://schemas.openxmlformats.org/officeDocument/2006/relationships/image" Target="../media/image66.svg"/><Relationship Id="rId10" Type="http://schemas.openxmlformats.org/officeDocument/2006/relationships/image" Target="../media/image64.svg"/><Relationship Id="rId19" Type="http://schemas.openxmlformats.org/officeDocument/2006/relationships/image" Target="../media/image33.svg"/><Relationship Id="rId4" Type="http://schemas.openxmlformats.org/officeDocument/2006/relationships/image" Target="../media/image56.svg"/><Relationship Id="rId9" Type="http://schemas.openxmlformats.org/officeDocument/2006/relationships/image" Target="../media/image63.png"/><Relationship Id="rId14" Type="http://schemas.openxmlformats.org/officeDocument/2006/relationships/image" Target="../media/image65.png"/></Relationships>
</file>

<file path=ppt/slides/_rels/slide31.xml.rels><?xml version="1.0" encoding="UTF-8" standalone="yes"?>
<Relationships xmlns="http://schemas.openxmlformats.org/package/2006/relationships"><Relationship Id="rId8" Type="http://schemas.openxmlformats.org/officeDocument/2006/relationships/image" Target="../media/image66.svg"/><Relationship Id="rId13" Type="http://schemas.openxmlformats.org/officeDocument/2006/relationships/image" Target="../media/image67.png"/><Relationship Id="rId18" Type="http://schemas.openxmlformats.org/officeDocument/2006/relationships/image" Target="../media/image43.svg"/><Relationship Id="rId3" Type="http://schemas.openxmlformats.org/officeDocument/2006/relationships/image" Target="../media/image64.svg"/><Relationship Id="rId7" Type="http://schemas.openxmlformats.org/officeDocument/2006/relationships/image" Target="../media/image65.png"/><Relationship Id="rId12" Type="http://schemas.openxmlformats.org/officeDocument/2006/relationships/image" Target="../media/image33.svg"/><Relationship Id="rId17" Type="http://schemas.openxmlformats.org/officeDocument/2006/relationships/image" Target="../media/image52.png"/><Relationship Id="rId2" Type="http://schemas.openxmlformats.org/officeDocument/2006/relationships/image" Target="../media/image63.png"/><Relationship Id="rId16" Type="http://schemas.openxmlformats.org/officeDocument/2006/relationships/image" Target="../media/image41.svg"/><Relationship Id="rId1" Type="http://schemas.openxmlformats.org/officeDocument/2006/relationships/slideLayout" Target="../slideLayouts/slideLayout2.xml"/><Relationship Id="rId6" Type="http://schemas.openxmlformats.org/officeDocument/2006/relationships/image" Target="../media/image70.svg"/><Relationship Id="rId11" Type="http://schemas.openxmlformats.org/officeDocument/2006/relationships/image" Target="../media/image32.png"/><Relationship Id="rId5" Type="http://schemas.openxmlformats.org/officeDocument/2006/relationships/image" Target="../media/image69.png"/><Relationship Id="rId15" Type="http://schemas.openxmlformats.org/officeDocument/2006/relationships/image" Target="../media/image40.png"/><Relationship Id="rId10" Type="http://schemas.openxmlformats.org/officeDocument/2006/relationships/image" Target="../media/image72.svg"/><Relationship Id="rId19" Type="http://schemas.openxmlformats.org/officeDocument/2006/relationships/image" Target="../media/image53.png"/><Relationship Id="rId4" Type="http://schemas.openxmlformats.org/officeDocument/2006/relationships/image" Target="../media/image1.png"/><Relationship Id="rId9" Type="http://schemas.openxmlformats.org/officeDocument/2006/relationships/image" Target="../media/image71.png"/><Relationship Id="rId14" Type="http://schemas.openxmlformats.org/officeDocument/2006/relationships/image" Target="../media/image68.svg"/></Relationships>
</file>

<file path=ppt/slides/_rels/slide32.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68.svg"/><Relationship Id="rId3" Type="http://schemas.openxmlformats.org/officeDocument/2006/relationships/image" Target="../media/image1.png"/><Relationship Id="rId7" Type="http://schemas.openxmlformats.org/officeDocument/2006/relationships/image" Target="../media/image70.svg"/><Relationship Id="rId12" Type="http://schemas.openxmlformats.org/officeDocument/2006/relationships/image" Target="../media/image67.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69.png"/><Relationship Id="rId11" Type="http://schemas.openxmlformats.org/officeDocument/2006/relationships/image" Target="../media/image33.svg"/><Relationship Id="rId5" Type="http://schemas.openxmlformats.org/officeDocument/2006/relationships/image" Target="../media/image64.svg"/><Relationship Id="rId10" Type="http://schemas.openxmlformats.org/officeDocument/2006/relationships/image" Target="../media/image32.png"/><Relationship Id="rId4" Type="http://schemas.openxmlformats.org/officeDocument/2006/relationships/image" Target="../media/image63.png"/><Relationship Id="rId9" Type="http://schemas.openxmlformats.org/officeDocument/2006/relationships/image" Target="../media/image66.svg"/></Relationships>
</file>

<file path=ppt/slides/_rels/slide33.xml.rels><?xml version="1.0" encoding="UTF-8" standalone="yes"?>
<Relationships xmlns="http://schemas.openxmlformats.org/package/2006/relationships"><Relationship Id="rId8" Type="http://schemas.openxmlformats.org/officeDocument/2006/relationships/tags" Target="../tags/tag48.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image" Target="../media/image1.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slideLayout" Target="../slideLayouts/slideLayout2.xml"/><Relationship Id="rId5" Type="http://schemas.openxmlformats.org/officeDocument/2006/relationships/tags" Target="../tags/tag45.xml"/><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s>
</file>

<file path=ppt/slides/_rels/slide34.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slideLayout" Target="../slideLayouts/slideLayout2.xml"/><Relationship Id="rId5" Type="http://schemas.openxmlformats.org/officeDocument/2006/relationships/tags" Target="../tags/tag55.xml"/><Relationship Id="rId10" Type="http://schemas.openxmlformats.org/officeDocument/2006/relationships/tags" Target="../tags/tag60.xml"/><Relationship Id="rId4" Type="http://schemas.openxmlformats.org/officeDocument/2006/relationships/tags" Target="../tags/tag54.xml"/><Relationship Id="rId9" Type="http://schemas.openxmlformats.org/officeDocument/2006/relationships/tags" Target="../tags/tag59.xml"/></Relationships>
</file>

<file path=ppt/slides/_rels/slide35.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1.png"/><Relationship Id="rId7" Type="http://schemas.openxmlformats.org/officeDocument/2006/relationships/image" Target="../media/image77.sv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76.png"/><Relationship Id="rId11" Type="http://schemas.openxmlformats.org/officeDocument/2006/relationships/image" Target="../media/image81.svg"/><Relationship Id="rId5" Type="http://schemas.openxmlformats.org/officeDocument/2006/relationships/image" Target="../media/image75.svg"/><Relationship Id="rId10" Type="http://schemas.openxmlformats.org/officeDocument/2006/relationships/image" Target="../media/image80.png"/><Relationship Id="rId4" Type="http://schemas.openxmlformats.org/officeDocument/2006/relationships/image" Target="../media/image74.png"/><Relationship Id="rId9" Type="http://schemas.openxmlformats.org/officeDocument/2006/relationships/image" Target="../media/image79.svg"/></Relationships>
</file>

<file path=ppt/slides/_rels/slide36.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33.svg"/><Relationship Id="rId3" Type="http://schemas.openxmlformats.org/officeDocument/2006/relationships/image" Target="../media/image1.png"/><Relationship Id="rId7" Type="http://schemas.openxmlformats.org/officeDocument/2006/relationships/image" Target="../media/image85.svg"/><Relationship Id="rId12" Type="http://schemas.openxmlformats.org/officeDocument/2006/relationships/image" Target="../media/image32.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84.png"/><Relationship Id="rId11" Type="http://schemas.openxmlformats.org/officeDocument/2006/relationships/image" Target="../media/image79.svg"/><Relationship Id="rId5" Type="http://schemas.openxmlformats.org/officeDocument/2006/relationships/image" Target="../media/image83.svg"/><Relationship Id="rId10" Type="http://schemas.openxmlformats.org/officeDocument/2006/relationships/image" Target="../media/image78.png"/><Relationship Id="rId4" Type="http://schemas.openxmlformats.org/officeDocument/2006/relationships/image" Target="../media/image82.png"/><Relationship Id="rId9" Type="http://schemas.openxmlformats.org/officeDocument/2006/relationships/image" Target="../media/image87.svg"/></Relationships>
</file>

<file path=ppt/slides/_rels/slide37.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88.jp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79.svg"/></Relationships>
</file>

<file path=ppt/slides/_rels/slide38.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image" Target="../media/image1.png"/><Relationship Id="rId5" Type="http://schemas.openxmlformats.org/officeDocument/2006/relationships/tags" Target="../tags/tag10.xml"/><Relationship Id="rId10" Type="http://schemas.openxmlformats.org/officeDocument/2006/relationships/notesSlide" Target="../notesSlides/notesSlide4.xml"/><Relationship Id="rId4" Type="http://schemas.openxmlformats.org/officeDocument/2006/relationships/tags" Target="../tags/tag9.xml"/><Relationship Id="rId9"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png"/><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slideLayout" Target="../slideLayouts/slideLayout2.xml"/><Relationship Id="rId5" Type="http://schemas.openxmlformats.org/officeDocument/2006/relationships/tags" Target="../tags/tag21.xml"/><Relationship Id="rId4" Type="http://schemas.openxmlformats.org/officeDocument/2006/relationships/tags" Target="../tags/tag20.xml"/></Relationships>
</file>

<file path=ppt/slides/_rels/slide7.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Layout" Target="../slideLayouts/slideLayout2.xml"/><Relationship Id="rId5" Type="http://schemas.openxmlformats.org/officeDocument/2006/relationships/tags" Target="../tags/tag26.xml"/><Relationship Id="rId4" Type="http://schemas.openxmlformats.org/officeDocument/2006/relationships/tags" Target="../tags/tag25.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tags" Target="../tags/tag29.xml"/><Relationship Id="rId7" Type="http://schemas.openxmlformats.org/officeDocument/2006/relationships/image" Target="../media/image1.png"/><Relationship Id="rId12" Type="http://schemas.openxmlformats.org/officeDocument/2006/relationships/image" Target="../media/image22.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slideLayout" Target="../slideLayouts/slideLayout2.xml"/><Relationship Id="rId11" Type="http://schemas.openxmlformats.org/officeDocument/2006/relationships/image" Target="../media/image21.svg"/><Relationship Id="rId5" Type="http://schemas.openxmlformats.org/officeDocument/2006/relationships/tags" Target="../tags/tag31.xml"/><Relationship Id="rId10" Type="http://schemas.openxmlformats.org/officeDocument/2006/relationships/image" Target="../media/image20.png"/><Relationship Id="rId4" Type="http://schemas.openxmlformats.org/officeDocument/2006/relationships/tags" Target="../tags/tag30.xml"/><Relationship Id="rId9" Type="http://schemas.openxmlformats.org/officeDocument/2006/relationships/image" Target="../media/image19.svg"/></Relationships>
</file>

<file path=ppt/slides/_rels/slide9.xml.rels><?xml version="1.0" encoding="UTF-8" standalone="yes"?>
<Relationships xmlns="http://schemas.openxmlformats.org/package/2006/relationships"><Relationship Id="rId8" Type="http://schemas.openxmlformats.org/officeDocument/2006/relationships/image" Target="../media/image1.png"/><Relationship Id="rId13" Type="http://schemas.openxmlformats.org/officeDocument/2006/relationships/image" Target="../media/image22.png"/><Relationship Id="rId3" Type="http://schemas.openxmlformats.org/officeDocument/2006/relationships/tags" Target="../tags/tag34.xml"/><Relationship Id="rId7" Type="http://schemas.openxmlformats.org/officeDocument/2006/relationships/notesSlide" Target="../notesSlides/notesSlide6.xml"/><Relationship Id="rId12" Type="http://schemas.openxmlformats.org/officeDocument/2006/relationships/image" Target="../media/image21.sv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slideLayout" Target="../slideLayouts/slideLayout2.xml"/><Relationship Id="rId11" Type="http://schemas.openxmlformats.org/officeDocument/2006/relationships/image" Target="../media/image20.png"/><Relationship Id="rId5" Type="http://schemas.openxmlformats.org/officeDocument/2006/relationships/tags" Target="../tags/tag36.xml"/><Relationship Id="rId10" Type="http://schemas.openxmlformats.org/officeDocument/2006/relationships/image" Target="../media/image19.svg"/><Relationship Id="rId4" Type="http://schemas.openxmlformats.org/officeDocument/2006/relationships/tags" Target="../tags/tag35.xml"/><Relationship Id="rId9" Type="http://schemas.openxmlformats.org/officeDocument/2006/relationships/image" Target="../media/image18.png"/><Relationship Id="rId14" Type="http://schemas.openxmlformats.org/officeDocument/2006/relationships/image" Target="../media/image2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8AD5635-4232-44BC-BF02-FB627D96B26F}"/>
              </a:ext>
            </a:extLst>
          </p:cNvPr>
          <p:cNvSpPr txBox="1"/>
          <p:nvPr/>
        </p:nvSpPr>
        <p:spPr>
          <a:xfrm>
            <a:off x="742950" y="2390775"/>
            <a:ext cx="10706100" cy="1200329"/>
          </a:xfrm>
          <a:prstGeom prst="rect">
            <a:avLst/>
          </a:prstGeom>
          <a:noFill/>
        </p:spPr>
        <p:txBody>
          <a:bodyPr wrap="square" rtlCol="0">
            <a:spAutoFit/>
          </a:bodyPr>
          <a:lstStyle/>
          <a:p>
            <a:pPr algn="ctr"/>
            <a:r>
              <a:rPr lang="en-SG" sz="7200" dirty="0">
                <a:solidFill>
                  <a:schemeClr val="bg1"/>
                </a:solidFill>
                <a:latin typeface="Bebas Neue" panose="020B0606020202050201" pitchFamily="34" charset="0"/>
              </a:rPr>
              <a:t>Hobo (health optimisation robot)</a:t>
            </a:r>
          </a:p>
        </p:txBody>
      </p:sp>
      <p:pic>
        <p:nvPicPr>
          <p:cNvPr id="20" name="Picture 2" descr="May be an image of text that says '3lAgytech Simplifying Engineering'">
            <a:extLst>
              <a:ext uri="{FF2B5EF4-FFF2-40B4-BE49-F238E27FC236}">
                <a16:creationId xmlns:a16="http://schemas.microsoft.com/office/drawing/2014/main" id="{30F7FE5D-3E1A-43FC-979A-26CF360A3F9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00" t="36543" r="9999" b="34332"/>
          <a:stretch/>
        </p:blipFill>
        <p:spPr bwMode="auto">
          <a:xfrm>
            <a:off x="9229725" y="3429000"/>
            <a:ext cx="1962150" cy="714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25082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Group 28">
            <a:extLst>
              <a:ext uri="{FF2B5EF4-FFF2-40B4-BE49-F238E27FC236}">
                <a16:creationId xmlns:a16="http://schemas.microsoft.com/office/drawing/2014/main" id="{C550CB7A-3405-4116-A7DF-0E12F5063F56}"/>
              </a:ext>
            </a:extLst>
          </p:cNvPr>
          <p:cNvGrpSpPr/>
          <p:nvPr/>
        </p:nvGrpSpPr>
        <p:grpSpPr>
          <a:xfrm>
            <a:off x="4406900" y="1817819"/>
            <a:ext cx="8966200" cy="3416300"/>
            <a:chOff x="4406900" y="1817819"/>
            <a:chExt cx="8966200" cy="3416300"/>
          </a:xfrm>
        </p:grpSpPr>
        <p:sp>
          <p:nvSpPr>
            <p:cNvPr id="20" name="Rectangle: Rounded Corners 19">
              <a:extLst>
                <a:ext uri="{FF2B5EF4-FFF2-40B4-BE49-F238E27FC236}">
                  <a16:creationId xmlns:a16="http://schemas.microsoft.com/office/drawing/2014/main" id="{EE44E968-D891-4EB4-AB8B-8F134646A834}"/>
                </a:ext>
              </a:extLst>
            </p:cNvPr>
            <p:cNvSpPr/>
            <p:nvPr/>
          </p:nvSpPr>
          <p:spPr>
            <a:xfrm>
              <a:off x="5114925" y="1817819"/>
              <a:ext cx="8258175" cy="34163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7" name="Isosceles Triangle 16">
              <a:extLst>
                <a:ext uri="{FF2B5EF4-FFF2-40B4-BE49-F238E27FC236}">
                  <a16:creationId xmlns:a16="http://schemas.microsoft.com/office/drawing/2014/main" id="{459EAE34-4BD7-4BCE-AA87-0F55CE49D49E}"/>
                </a:ext>
              </a:extLst>
            </p:cNvPr>
            <p:cNvSpPr/>
            <p:nvPr/>
          </p:nvSpPr>
          <p:spPr>
            <a:xfrm rot="16200000">
              <a:off x="4370729" y="3079135"/>
              <a:ext cx="853392" cy="781049"/>
            </a:xfrm>
            <a:prstGeom prst="triangl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sp>
        <p:nvSpPr>
          <p:cNvPr id="39" name="TextBox 38">
            <a:extLst>
              <a:ext uri="{FF2B5EF4-FFF2-40B4-BE49-F238E27FC236}">
                <a16:creationId xmlns:a16="http://schemas.microsoft.com/office/drawing/2014/main" id="{AFD07DFB-EF86-41C6-BD3F-22538BB395CF}"/>
              </a:ext>
            </a:extLst>
          </p:cNvPr>
          <p:cNvSpPr txBox="1"/>
          <p:nvPr/>
        </p:nvSpPr>
        <p:spPr>
          <a:xfrm>
            <a:off x="5676901" y="2618496"/>
            <a:ext cx="7175499" cy="769441"/>
          </a:xfrm>
          <a:prstGeom prst="rect">
            <a:avLst/>
          </a:prstGeom>
          <a:noFill/>
        </p:spPr>
        <p:txBody>
          <a:bodyPr wrap="square" rtlCol="0">
            <a:spAutoFit/>
          </a:bodyPr>
          <a:lstStyle/>
          <a:p>
            <a:r>
              <a:rPr lang="en-US" sz="4400" dirty="0">
                <a:latin typeface="Quicksand Book" panose="02070303000000060000" pitchFamily="18" charset="0"/>
              </a:rPr>
              <a:t>Loratadine 1 dose/day </a:t>
            </a:r>
            <a:r>
              <a:rPr lang="en-SG" sz="4400" b="1" i="0" dirty="0">
                <a:solidFill>
                  <a:srgbClr val="202124"/>
                </a:solidFill>
                <a:effectLst/>
                <a:latin typeface="arial" panose="020B0604020202020204" pitchFamily="34" charset="0"/>
              </a:rPr>
              <a:t>✓</a:t>
            </a:r>
            <a:endParaRPr lang="en-US" sz="4400" dirty="0">
              <a:latin typeface="Quicksand Book" panose="02070303000000060000" pitchFamily="18" charset="0"/>
            </a:endParaRPr>
          </a:p>
        </p:txBody>
      </p:sp>
      <p:sp>
        <p:nvSpPr>
          <p:cNvPr id="40" name="TextBox 39">
            <a:extLst>
              <a:ext uri="{FF2B5EF4-FFF2-40B4-BE49-F238E27FC236}">
                <a16:creationId xmlns:a16="http://schemas.microsoft.com/office/drawing/2014/main" id="{9BCE3406-564C-4460-BA09-458CEEB4C4E6}"/>
              </a:ext>
            </a:extLst>
          </p:cNvPr>
          <p:cNvSpPr txBox="1"/>
          <p:nvPr/>
        </p:nvSpPr>
        <p:spPr>
          <a:xfrm>
            <a:off x="5676901" y="3706703"/>
            <a:ext cx="7175499" cy="769441"/>
          </a:xfrm>
          <a:prstGeom prst="rect">
            <a:avLst/>
          </a:prstGeom>
          <a:noFill/>
        </p:spPr>
        <p:txBody>
          <a:bodyPr wrap="square" rtlCol="0">
            <a:spAutoFit/>
          </a:bodyPr>
          <a:lstStyle/>
          <a:p>
            <a:r>
              <a:rPr lang="en-US" sz="4400" dirty="0">
                <a:latin typeface="Quicksand Book" panose="02070303000000060000" pitchFamily="18" charset="0"/>
              </a:rPr>
              <a:t>Ibuprofen 3 doses/day </a:t>
            </a:r>
            <a:r>
              <a:rPr lang="en-SG" sz="4400" b="1" i="0" dirty="0">
                <a:solidFill>
                  <a:srgbClr val="202124"/>
                </a:solidFill>
                <a:effectLst/>
                <a:latin typeface="arial" panose="020B0604020202020204" pitchFamily="34" charset="0"/>
              </a:rPr>
              <a:t>✓</a:t>
            </a:r>
            <a:endParaRPr lang="en-US" sz="4400" dirty="0">
              <a:latin typeface="Quicksand Book" panose="02070303000000060000" pitchFamily="18" charset="0"/>
            </a:endParaRPr>
          </a:p>
        </p:txBody>
      </p:sp>
      <p:grpSp>
        <p:nvGrpSpPr>
          <p:cNvPr id="31" name="Group 30">
            <a:extLst>
              <a:ext uri="{FF2B5EF4-FFF2-40B4-BE49-F238E27FC236}">
                <a16:creationId xmlns:a16="http://schemas.microsoft.com/office/drawing/2014/main" id="{D74DB197-B385-4173-8303-5A281D9DE7DC}"/>
              </a:ext>
            </a:extLst>
          </p:cNvPr>
          <p:cNvGrpSpPr/>
          <p:nvPr/>
        </p:nvGrpSpPr>
        <p:grpSpPr>
          <a:xfrm>
            <a:off x="1041748" y="2107030"/>
            <a:ext cx="2975625" cy="3107138"/>
            <a:chOff x="1041748" y="2107030"/>
            <a:chExt cx="2975625" cy="3107138"/>
          </a:xfrm>
        </p:grpSpPr>
        <p:grpSp>
          <p:nvGrpSpPr>
            <p:cNvPr id="21" name="Doctor" descr="{&quot;Key&quot;:&quot;POWER_USER_SHAPE_ICON&quot;,&quot;Value&quot;:&quot;POWER_USER_SHAPE_ICON_STYLE_1&quot;}">
              <a:extLst>
                <a:ext uri="{FF2B5EF4-FFF2-40B4-BE49-F238E27FC236}">
                  <a16:creationId xmlns:a16="http://schemas.microsoft.com/office/drawing/2014/main" id="{E53BE4F9-082C-40E1-985F-7580E9D3462D}"/>
                </a:ext>
              </a:extLst>
            </p:cNvPr>
            <p:cNvGrpSpPr>
              <a:grpSpLocks/>
            </p:cNvGrpSpPr>
            <p:nvPr>
              <p:custDataLst>
                <p:tags r:id="rId1"/>
              </p:custDataLst>
            </p:nvPr>
          </p:nvGrpSpPr>
          <p:grpSpPr bwMode="auto">
            <a:xfrm rot="20858588" flipH="1">
              <a:off x="1460179" y="2107030"/>
              <a:ext cx="2511425" cy="2595434"/>
              <a:chOff x="4650" y="2644"/>
              <a:chExt cx="1103" cy="1180"/>
            </a:xfrm>
            <a:solidFill>
              <a:srgbClr val="F7C5A3"/>
            </a:solidFill>
          </p:grpSpPr>
          <p:sp>
            <p:nvSpPr>
              <p:cNvPr id="22" name="Freeform 13">
                <a:extLst>
                  <a:ext uri="{FF2B5EF4-FFF2-40B4-BE49-F238E27FC236}">
                    <a16:creationId xmlns:a16="http://schemas.microsoft.com/office/drawing/2014/main" id="{8AFAA26C-720E-46DE-8EC8-D7BCA3C8271F}"/>
                  </a:ext>
                </a:extLst>
              </p:cNvPr>
              <p:cNvSpPr>
                <a:spLocks/>
              </p:cNvSpPr>
              <p:nvPr/>
            </p:nvSpPr>
            <p:spPr bwMode="auto">
              <a:xfrm>
                <a:off x="4650" y="3029"/>
                <a:ext cx="1103" cy="795"/>
              </a:xfrm>
              <a:custGeom>
                <a:avLst/>
                <a:gdLst>
                  <a:gd name="T0" fmla="*/ 762 w 930"/>
                  <a:gd name="T1" fmla="*/ 0 h 670"/>
                  <a:gd name="T2" fmla="*/ 930 w 930"/>
                  <a:gd name="T3" fmla="*/ 158 h 670"/>
                  <a:gd name="T4" fmla="*/ 930 w 930"/>
                  <a:gd name="T5" fmla="*/ 607 h 670"/>
                  <a:gd name="T6" fmla="*/ 927 w 930"/>
                  <a:gd name="T7" fmla="*/ 670 h 670"/>
                  <a:gd name="T8" fmla="*/ 447 w 930"/>
                  <a:gd name="T9" fmla="*/ 670 h 670"/>
                  <a:gd name="T10" fmla="*/ 447 w 930"/>
                  <a:gd name="T11" fmla="*/ 234 h 670"/>
                  <a:gd name="T12" fmla="*/ 428 w 930"/>
                  <a:gd name="T13" fmla="*/ 234 h 670"/>
                  <a:gd name="T14" fmla="*/ 339 w 930"/>
                  <a:gd name="T15" fmla="*/ 367 h 670"/>
                  <a:gd name="T16" fmla="*/ 271 w 930"/>
                  <a:gd name="T17" fmla="*/ 396 h 670"/>
                  <a:gd name="T18" fmla="*/ 62 w 930"/>
                  <a:gd name="T19" fmla="*/ 396 h 670"/>
                  <a:gd name="T20" fmla="*/ 0 w 930"/>
                  <a:gd name="T21" fmla="*/ 333 h 670"/>
                  <a:gd name="T22" fmla="*/ 62 w 930"/>
                  <a:gd name="T23" fmla="*/ 271 h 670"/>
                  <a:gd name="T24" fmla="*/ 253 w 930"/>
                  <a:gd name="T25" fmla="*/ 271 h 670"/>
                  <a:gd name="T26" fmla="*/ 384 w 930"/>
                  <a:gd name="T27" fmla="*/ 72 h 670"/>
                  <a:gd name="T28" fmla="*/ 527 w 930"/>
                  <a:gd name="T29" fmla="*/ 1 h 670"/>
                  <a:gd name="T30" fmla="*/ 626 w 930"/>
                  <a:gd name="T31" fmla="*/ 200 h 670"/>
                  <a:gd name="T32" fmla="*/ 626 w 930"/>
                  <a:gd name="T33" fmla="*/ 433 h 670"/>
                  <a:gd name="T34" fmla="*/ 595 w 930"/>
                  <a:gd name="T35" fmla="*/ 479 h 670"/>
                  <a:gd name="T36" fmla="*/ 645 w 930"/>
                  <a:gd name="T37" fmla="*/ 529 h 670"/>
                  <a:gd name="T38" fmla="*/ 695 w 930"/>
                  <a:gd name="T39" fmla="*/ 479 h 670"/>
                  <a:gd name="T40" fmla="*/ 664 w 930"/>
                  <a:gd name="T41" fmla="*/ 433 h 670"/>
                  <a:gd name="T42" fmla="*/ 664 w 930"/>
                  <a:gd name="T43" fmla="*/ 200 h 670"/>
                  <a:gd name="T44" fmla="*/ 762 w 930"/>
                  <a:gd name="T45" fmla="*/ 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0" h="670">
                    <a:moveTo>
                      <a:pt x="762" y="0"/>
                    </a:moveTo>
                    <a:cubicBezTo>
                      <a:pt x="867" y="0"/>
                      <a:pt x="930" y="63"/>
                      <a:pt x="930" y="158"/>
                    </a:cubicBezTo>
                    <a:lnTo>
                      <a:pt x="930" y="607"/>
                    </a:lnTo>
                    <a:cubicBezTo>
                      <a:pt x="930" y="642"/>
                      <a:pt x="927" y="670"/>
                      <a:pt x="927" y="670"/>
                    </a:cubicBezTo>
                    <a:lnTo>
                      <a:pt x="447" y="670"/>
                    </a:lnTo>
                    <a:lnTo>
                      <a:pt x="447" y="234"/>
                    </a:lnTo>
                    <a:lnTo>
                      <a:pt x="428" y="234"/>
                    </a:lnTo>
                    <a:lnTo>
                      <a:pt x="339" y="367"/>
                    </a:lnTo>
                    <a:cubicBezTo>
                      <a:pt x="324" y="386"/>
                      <a:pt x="295" y="396"/>
                      <a:pt x="271" y="396"/>
                    </a:cubicBezTo>
                    <a:lnTo>
                      <a:pt x="62" y="396"/>
                    </a:lnTo>
                    <a:cubicBezTo>
                      <a:pt x="28" y="396"/>
                      <a:pt x="0" y="368"/>
                      <a:pt x="0" y="333"/>
                    </a:cubicBezTo>
                    <a:cubicBezTo>
                      <a:pt x="0" y="299"/>
                      <a:pt x="28" y="271"/>
                      <a:pt x="62" y="271"/>
                    </a:cubicBezTo>
                    <a:lnTo>
                      <a:pt x="253" y="271"/>
                    </a:lnTo>
                    <a:lnTo>
                      <a:pt x="384" y="72"/>
                    </a:lnTo>
                    <a:cubicBezTo>
                      <a:pt x="416" y="24"/>
                      <a:pt x="475" y="1"/>
                      <a:pt x="527" y="1"/>
                    </a:cubicBezTo>
                    <a:cubicBezTo>
                      <a:pt x="527" y="141"/>
                      <a:pt x="562" y="200"/>
                      <a:pt x="626" y="200"/>
                    </a:cubicBezTo>
                    <a:lnTo>
                      <a:pt x="626" y="433"/>
                    </a:lnTo>
                    <a:cubicBezTo>
                      <a:pt x="608" y="441"/>
                      <a:pt x="595" y="459"/>
                      <a:pt x="595" y="479"/>
                    </a:cubicBezTo>
                    <a:cubicBezTo>
                      <a:pt x="595" y="507"/>
                      <a:pt x="617" y="529"/>
                      <a:pt x="645" y="529"/>
                    </a:cubicBezTo>
                    <a:cubicBezTo>
                      <a:pt x="673" y="529"/>
                      <a:pt x="695" y="506"/>
                      <a:pt x="695" y="479"/>
                    </a:cubicBezTo>
                    <a:cubicBezTo>
                      <a:pt x="695" y="458"/>
                      <a:pt x="682" y="440"/>
                      <a:pt x="664" y="433"/>
                    </a:cubicBezTo>
                    <a:lnTo>
                      <a:pt x="664" y="200"/>
                    </a:lnTo>
                    <a:cubicBezTo>
                      <a:pt x="727" y="200"/>
                      <a:pt x="762" y="140"/>
                      <a:pt x="762"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14">
                <a:extLst>
                  <a:ext uri="{FF2B5EF4-FFF2-40B4-BE49-F238E27FC236}">
                    <a16:creationId xmlns:a16="http://schemas.microsoft.com/office/drawing/2014/main" id="{F6CC81A7-6819-49C3-B631-A8CB037681AB}"/>
                  </a:ext>
                </a:extLst>
              </p:cNvPr>
              <p:cNvSpPr>
                <a:spLocks/>
              </p:cNvSpPr>
              <p:nvPr/>
            </p:nvSpPr>
            <p:spPr bwMode="auto">
              <a:xfrm>
                <a:off x="5323" y="3029"/>
                <a:ext cx="185" cy="193"/>
              </a:xfrm>
              <a:custGeom>
                <a:avLst/>
                <a:gdLst>
                  <a:gd name="T0" fmla="*/ 156 w 156"/>
                  <a:gd name="T1" fmla="*/ 0 h 163"/>
                  <a:gd name="T2" fmla="*/ 78 w 156"/>
                  <a:gd name="T3" fmla="*/ 163 h 163"/>
                  <a:gd name="T4" fmla="*/ 0 w 156"/>
                  <a:gd name="T5" fmla="*/ 0 h 163"/>
                  <a:gd name="T6" fmla="*/ 156 w 156"/>
                  <a:gd name="T7" fmla="*/ 0 h 163"/>
                </a:gdLst>
                <a:ahLst/>
                <a:cxnLst>
                  <a:cxn ang="0">
                    <a:pos x="T0" y="T1"/>
                  </a:cxn>
                  <a:cxn ang="0">
                    <a:pos x="T2" y="T3"/>
                  </a:cxn>
                  <a:cxn ang="0">
                    <a:pos x="T4" y="T5"/>
                  </a:cxn>
                  <a:cxn ang="0">
                    <a:pos x="T6" y="T7"/>
                  </a:cxn>
                </a:cxnLst>
                <a:rect l="0" t="0" r="r" b="b"/>
                <a:pathLst>
                  <a:path w="156" h="163">
                    <a:moveTo>
                      <a:pt x="156" y="0"/>
                    </a:moveTo>
                    <a:cubicBezTo>
                      <a:pt x="155" y="144"/>
                      <a:pt x="130" y="163"/>
                      <a:pt x="78" y="163"/>
                    </a:cubicBezTo>
                    <a:cubicBezTo>
                      <a:pt x="26" y="163"/>
                      <a:pt x="1" y="144"/>
                      <a:pt x="0" y="0"/>
                    </a:cubicBezTo>
                    <a:lnTo>
                      <a:pt x="1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Oval 15">
                <a:extLst>
                  <a:ext uri="{FF2B5EF4-FFF2-40B4-BE49-F238E27FC236}">
                    <a16:creationId xmlns:a16="http://schemas.microsoft.com/office/drawing/2014/main" id="{1C52158E-58B1-47C4-BB0B-9EA169BE8ABB}"/>
                  </a:ext>
                </a:extLst>
              </p:cNvPr>
              <p:cNvSpPr>
                <a:spLocks noChangeArrowheads="1"/>
              </p:cNvSpPr>
              <p:nvPr/>
            </p:nvSpPr>
            <p:spPr bwMode="auto">
              <a:xfrm>
                <a:off x="5244" y="2644"/>
                <a:ext cx="340" cy="341"/>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0" name="TextBox 29">
              <a:extLst>
                <a:ext uri="{FF2B5EF4-FFF2-40B4-BE49-F238E27FC236}">
                  <a16:creationId xmlns:a16="http://schemas.microsoft.com/office/drawing/2014/main" id="{934EB929-586F-4C3C-81AC-7E95FCFFDCB4}"/>
                </a:ext>
              </a:extLst>
            </p:cNvPr>
            <p:cNvSpPr txBox="1"/>
            <p:nvPr/>
          </p:nvSpPr>
          <p:spPr>
            <a:xfrm rot="20905923">
              <a:off x="1041748" y="4752503"/>
              <a:ext cx="2975625" cy="461665"/>
            </a:xfrm>
            <a:prstGeom prst="rect">
              <a:avLst/>
            </a:prstGeom>
            <a:noFill/>
          </p:spPr>
          <p:txBody>
            <a:bodyPr wrap="square" rtlCol="0">
              <a:spAutoFit/>
            </a:bodyPr>
            <a:lstStyle/>
            <a:p>
              <a:pPr algn="ctr"/>
              <a:r>
                <a:rPr lang="en-US" sz="2400" dirty="0">
                  <a:solidFill>
                    <a:srgbClr val="F7C5A3"/>
                  </a:solidFill>
                  <a:latin typeface="Quicksand Bold" pitchFamily="50" charset="0"/>
                </a:rPr>
                <a:t>Doctor</a:t>
              </a:r>
              <a:endParaRPr lang="en-SG" sz="2400" dirty="0">
                <a:solidFill>
                  <a:srgbClr val="F7C5A3"/>
                </a:solidFill>
                <a:latin typeface="Quicksand Bold" pitchFamily="50" charset="0"/>
              </a:endParaRPr>
            </a:p>
          </p:txBody>
        </p:sp>
      </p:grpSp>
    </p:spTree>
    <p:extLst>
      <p:ext uri="{BB962C8B-B14F-4D97-AF65-F5344CB8AC3E}">
        <p14:creationId xmlns:p14="http://schemas.microsoft.com/office/powerpoint/2010/main" val="1239358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6000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500" fill="hold"/>
                                        <p:tgtEl>
                                          <p:spTgt spid="31"/>
                                        </p:tgtEl>
                                        <p:attrNameLst>
                                          <p:attrName>ppt_x</p:attrName>
                                        </p:attrNameLst>
                                      </p:cBhvr>
                                      <p:tavLst>
                                        <p:tav tm="0">
                                          <p:val>
                                            <p:strVal val="0-#ppt_w/2"/>
                                          </p:val>
                                        </p:tav>
                                        <p:tav tm="100000">
                                          <p:val>
                                            <p:strVal val="#ppt_x"/>
                                          </p:val>
                                        </p:tav>
                                      </p:tavLst>
                                    </p:anim>
                                    <p:anim calcmode="lin" valueType="num">
                                      <p:cBhvr additive="base">
                                        <p:cTn id="8" dur="500" fill="hold"/>
                                        <p:tgtEl>
                                          <p:spTgt spid="3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60000" fill="hold" nodeType="click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500" fill="hold"/>
                                        <p:tgtEl>
                                          <p:spTgt spid="29"/>
                                        </p:tgtEl>
                                        <p:attrNameLst>
                                          <p:attrName>ppt_x</p:attrName>
                                        </p:attrNameLst>
                                      </p:cBhvr>
                                      <p:tavLst>
                                        <p:tav tm="0">
                                          <p:val>
                                            <p:strVal val="1+#ppt_w/2"/>
                                          </p:val>
                                        </p:tav>
                                        <p:tav tm="100000">
                                          <p:val>
                                            <p:strVal val="#ppt_x"/>
                                          </p:val>
                                        </p:tav>
                                      </p:tavLst>
                                    </p:anim>
                                    <p:anim calcmode="lin" valueType="num">
                                      <p:cBhvr additive="base">
                                        <p:cTn id="14" dur="500" fill="hold"/>
                                        <p:tgtEl>
                                          <p:spTgt spid="29"/>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iterate type="lt">
                                    <p:tmAbs val="50"/>
                                  </p:iterate>
                                  <p:childTnLst>
                                    <p:set>
                                      <p:cBhvr>
                                        <p:cTn id="18" dur="1" fill="hold">
                                          <p:stCondLst>
                                            <p:cond delay="0"/>
                                          </p:stCondLst>
                                        </p:cTn>
                                        <p:tgtEl>
                                          <p:spTgt spid="39"/>
                                        </p:tgtEl>
                                        <p:attrNameLst>
                                          <p:attrName>style.visibility</p:attrName>
                                        </p:attrNameLst>
                                      </p:cBhvr>
                                      <p:to>
                                        <p:strVal val="visible"/>
                                      </p:to>
                                    </p:set>
                                  </p:childTnLst>
                                </p:cTn>
                              </p:par>
                              <p:par>
                                <p:cTn id="19" presetID="1" presetClass="entr" presetSubtype="0" fill="hold" grpId="0" nodeType="withEffect">
                                  <p:stCondLst>
                                    <p:cond delay="0"/>
                                  </p:stCondLst>
                                  <p:iterate type="lt">
                                    <p:tmAbs val="50"/>
                                  </p:iterate>
                                  <p:childTnLst>
                                    <p:set>
                                      <p:cBhvr>
                                        <p:cTn id="20"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5526DE6F-8A2F-472A-80C6-72DCAEE2789A}"/>
              </a:ext>
            </a:extLst>
          </p:cNvPr>
          <p:cNvGrpSpPr/>
          <p:nvPr/>
        </p:nvGrpSpPr>
        <p:grpSpPr>
          <a:xfrm>
            <a:off x="1041748" y="1817819"/>
            <a:ext cx="15794117" cy="3416300"/>
            <a:chOff x="1041748" y="1817819"/>
            <a:chExt cx="15794117" cy="3416300"/>
          </a:xfrm>
        </p:grpSpPr>
        <p:grpSp>
          <p:nvGrpSpPr>
            <p:cNvPr id="4" name="Group 3">
              <a:extLst>
                <a:ext uri="{FF2B5EF4-FFF2-40B4-BE49-F238E27FC236}">
                  <a16:creationId xmlns:a16="http://schemas.microsoft.com/office/drawing/2014/main" id="{2B652F51-FE31-415F-94C9-39B51C5F2AC7}"/>
                </a:ext>
              </a:extLst>
            </p:cNvPr>
            <p:cNvGrpSpPr/>
            <p:nvPr/>
          </p:nvGrpSpPr>
          <p:grpSpPr>
            <a:xfrm>
              <a:off x="1041748" y="1817819"/>
              <a:ext cx="13039376" cy="3416300"/>
              <a:chOff x="1041748" y="1817819"/>
              <a:chExt cx="13039376" cy="3416300"/>
            </a:xfrm>
          </p:grpSpPr>
          <p:grpSp>
            <p:nvGrpSpPr>
              <p:cNvPr id="3" name="Group 2">
                <a:extLst>
                  <a:ext uri="{FF2B5EF4-FFF2-40B4-BE49-F238E27FC236}">
                    <a16:creationId xmlns:a16="http://schemas.microsoft.com/office/drawing/2014/main" id="{652C27C8-ADDF-4127-A8CD-5C896AD418E3}"/>
                  </a:ext>
                </a:extLst>
              </p:cNvPr>
              <p:cNvGrpSpPr/>
              <p:nvPr/>
            </p:nvGrpSpPr>
            <p:grpSpPr>
              <a:xfrm>
                <a:off x="1041748" y="1817819"/>
                <a:ext cx="12331352" cy="3416300"/>
                <a:chOff x="1041748" y="1817819"/>
                <a:chExt cx="12331352" cy="3416300"/>
              </a:xfrm>
            </p:grpSpPr>
            <p:grpSp>
              <p:nvGrpSpPr>
                <p:cNvPr id="29" name="Group 28">
                  <a:extLst>
                    <a:ext uri="{FF2B5EF4-FFF2-40B4-BE49-F238E27FC236}">
                      <a16:creationId xmlns:a16="http://schemas.microsoft.com/office/drawing/2014/main" id="{C550CB7A-3405-4116-A7DF-0E12F5063F56}"/>
                    </a:ext>
                  </a:extLst>
                </p:cNvPr>
                <p:cNvGrpSpPr/>
                <p:nvPr/>
              </p:nvGrpSpPr>
              <p:grpSpPr>
                <a:xfrm>
                  <a:off x="4406900" y="1817819"/>
                  <a:ext cx="8966200" cy="3416300"/>
                  <a:chOff x="4406900" y="1817819"/>
                  <a:chExt cx="8966200" cy="3416300"/>
                </a:xfrm>
              </p:grpSpPr>
              <p:sp>
                <p:nvSpPr>
                  <p:cNvPr id="20" name="Rectangle: Rounded Corners 19">
                    <a:extLst>
                      <a:ext uri="{FF2B5EF4-FFF2-40B4-BE49-F238E27FC236}">
                        <a16:creationId xmlns:a16="http://schemas.microsoft.com/office/drawing/2014/main" id="{EE44E968-D891-4EB4-AB8B-8F134646A834}"/>
                      </a:ext>
                    </a:extLst>
                  </p:cNvPr>
                  <p:cNvSpPr/>
                  <p:nvPr/>
                </p:nvSpPr>
                <p:spPr>
                  <a:xfrm>
                    <a:off x="5114925" y="1817819"/>
                    <a:ext cx="8258175" cy="34163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7" name="Isosceles Triangle 16">
                    <a:extLst>
                      <a:ext uri="{FF2B5EF4-FFF2-40B4-BE49-F238E27FC236}">
                        <a16:creationId xmlns:a16="http://schemas.microsoft.com/office/drawing/2014/main" id="{459EAE34-4BD7-4BCE-AA87-0F55CE49D49E}"/>
                      </a:ext>
                    </a:extLst>
                  </p:cNvPr>
                  <p:cNvSpPr/>
                  <p:nvPr/>
                </p:nvSpPr>
                <p:spPr>
                  <a:xfrm rot="16200000">
                    <a:off x="4370729" y="3079135"/>
                    <a:ext cx="853392" cy="781049"/>
                  </a:xfrm>
                  <a:prstGeom prst="triangl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sp>
              <p:nvSpPr>
                <p:cNvPr id="39" name="TextBox 38">
                  <a:extLst>
                    <a:ext uri="{FF2B5EF4-FFF2-40B4-BE49-F238E27FC236}">
                      <a16:creationId xmlns:a16="http://schemas.microsoft.com/office/drawing/2014/main" id="{AFD07DFB-EF86-41C6-BD3F-22538BB395CF}"/>
                    </a:ext>
                  </a:extLst>
                </p:cNvPr>
                <p:cNvSpPr txBox="1"/>
                <p:nvPr/>
              </p:nvSpPr>
              <p:spPr>
                <a:xfrm>
                  <a:off x="5676901" y="2618496"/>
                  <a:ext cx="7175499" cy="769441"/>
                </a:xfrm>
                <a:prstGeom prst="rect">
                  <a:avLst/>
                </a:prstGeom>
                <a:noFill/>
              </p:spPr>
              <p:txBody>
                <a:bodyPr wrap="square" rtlCol="0">
                  <a:spAutoFit/>
                </a:bodyPr>
                <a:lstStyle/>
                <a:p>
                  <a:r>
                    <a:rPr lang="en-US" sz="4400" dirty="0">
                      <a:latin typeface="Quicksand Book" panose="02070303000000060000" pitchFamily="18" charset="0"/>
                    </a:rPr>
                    <a:t>Loratadine 1 dose/day </a:t>
                  </a:r>
                  <a:r>
                    <a:rPr lang="en-SG" sz="4400" b="1" i="0" dirty="0">
                      <a:solidFill>
                        <a:srgbClr val="202124"/>
                      </a:solidFill>
                      <a:effectLst/>
                      <a:latin typeface="arial" panose="020B0604020202020204" pitchFamily="34" charset="0"/>
                    </a:rPr>
                    <a:t>✓</a:t>
                  </a:r>
                  <a:endParaRPr lang="en-US" sz="4400" dirty="0">
                    <a:latin typeface="Quicksand Book" panose="02070303000000060000" pitchFamily="18" charset="0"/>
                  </a:endParaRPr>
                </a:p>
              </p:txBody>
            </p:sp>
            <p:sp>
              <p:nvSpPr>
                <p:cNvPr id="40" name="TextBox 39">
                  <a:extLst>
                    <a:ext uri="{FF2B5EF4-FFF2-40B4-BE49-F238E27FC236}">
                      <a16:creationId xmlns:a16="http://schemas.microsoft.com/office/drawing/2014/main" id="{9BCE3406-564C-4460-BA09-458CEEB4C4E6}"/>
                    </a:ext>
                  </a:extLst>
                </p:cNvPr>
                <p:cNvSpPr txBox="1"/>
                <p:nvPr/>
              </p:nvSpPr>
              <p:spPr>
                <a:xfrm>
                  <a:off x="5676901" y="3706703"/>
                  <a:ext cx="7175499" cy="769441"/>
                </a:xfrm>
                <a:prstGeom prst="rect">
                  <a:avLst/>
                </a:prstGeom>
                <a:noFill/>
              </p:spPr>
              <p:txBody>
                <a:bodyPr wrap="square" rtlCol="0">
                  <a:spAutoFit/>
                </a:bodyPr>
                <a:lstStyle/>
                <a:p>
                  <a:r>
                    <a:rPr lang="en-US" sz="4400" dirty="0">
                      <a:latin typeface="Quicksand Book" panose="02070303000000060000" pitchFamily="18" charset="0"/>
                    </a:rPr>
                    <a:t>Ibuprofen 3 doses/day </a:t>
                  </a:r>
                  <a:r>
                    <a:rPr lang="en-SG" sz="4400" b="1" i="0" dirty="0">
                      <a:solidFill>
                        <a:srgbClr val="202124"/>
                      </a:solidFill>
                      <a:effectLst/>
                      <a:latin typeface="arial" panose="020B0604020202020204" pitchFamily="34" charset="0"/>
                    </a:rPr>
                    <a:t>✓</a:t>
                  </a:r>
                  <a:endParaRPr lang="en-US" sz="4400" dirty="0">
                    <a:latin typeface="Quicksand Book" panose="02070303000000060000" pitchFamily="18" charset="0"/>
                  </a:endParaRPr>
                </a:p>
              </p:txBody>
            </p:sp>
            <p:grpSp>
              <p:nvGrpSpPr>
                <p:cNvPr id="31" name="Group 30">
                  <a:extLst>
                    <a:ext uri="{FF2B5EF4-FFF2-40B4-BE49-F238E27FC236}">
                      <a16:creationId xmlns:a16="http://schemas.microsoft.com/office/drawing/2014/main" id="{D74DB197-B385-4173-8303-5A281D9DE7DC}"/>
                    </a:ext>
                  </a:extLst>
                </p:cNvPr>
                <p:cNvGrpSpPr/>
                <p:nvPr/>
              </p:nvGrpSpPr>
              <p:grpSpPr>
                <a:xfrm>
                  <a:off x="1041748" y="2107030"/>
                  <a:ext cx="2975625" cy="3107138"/>
                  <a:chOff x="1041748" y="2107030"/>
                  <a:chExt cx="2975625" cy="3107138"/>
                </a:xfrm>
              </p:grpSpPr>
              <p:grpSp>
                <p:nvGrpSpPr>
                  <p:cNvPr id="21" name="Doctor" descr="{&quot;Key&quot;:&quot;POWER_USER_SHAPE_ICON&quot;,&quot;Value&quot;:&quot;POWER_USER_SHAPE_ICON_STYLE_1&quot;}">
                    <a:extLst>
                      <a:ext uri="{FF2B5EF4-FFF2-40B4-BE49-F238E27FC236}">
                        <a16:creationId xmlns:a16="http://schemas.microsoft.com/office/drawing/2014/main" id="{E53BE4F9-082C-40E1-985F-7580E9D3462D}"/>
                      </a:ext>
                    </a:extLst>
                  </p:cNvPr>
                  <p:cNvGrpSpPr>
                    <a:grpSpLocks/>
                  </p:cNvGrpSpPr>
                  <p:nvPr>
                    <p:custDataLst>
                      <p:tags r:id="rId1"/>
                    </p:custDataLst>
                  </p:nvPr>
                </p:nvGrpSpPr>
                <p:grpSpPr bwMode="auto">
                  <a:xfrm rot="20858588" flipH="1">
                    <a:off x="1460179" y="2107030"/>
                    <a:ext cx="2511425" cy="2595434"/>
                    <a:chOff x="4650" y="2644"/>
                    <a:chExt cx="1103" cy="1180"/>
                  </a:xfrm>
                  <a:solidFill>
                    <a:srgbClr val="F7C5A3"/>
                  </a:solidFill>
                </p:grpSpPr>
                <p:sp>
                  <p:nvSpPr>
                    <p:cNvPr id="22" name="Freeform 13">
                      <a:extLst>
                        <a:ext uri="{FF2B5EF4-FFF2-40B4-BE49-F238E27FC236}">
                          <a16:creationId xmlns:a16="http://schemas.microsoft.com/office/drawing/2014/main" id="{8AFAA26C-720E-46DE-8EC8-D7BCA3C8271F}"/>
                        </a:ext>
                      </a:extLst>
                    </p:cNvPr>
                    <p:cNvSpPr>
                      <a:spLocks/>
                    </p:cNvSpPr>
                    <p:nvPr/>
                  </p:nvSpPr>
                  <p:spPr bwMode="auto">
                    <a:xfrm>
                      <a:off x="4650" y="3029"/>
                      <a:ext cx="1103" cy="795"/>
                    </a:xfrm>
                    <a:custGeom>
                      <a:avLst/>
                      <a:gdLst>
                        <a:gd name="T0" fmla="*/ 762 w 930"/>
                        <a:gd name="T1" fmla="*/ 0 h 670"/>
                        <a:gd name="T2" fmla="*/ 930 w 930"/>
                        <a:gd name="T3" fmla="*/ 158 h 670"/>
                        <a:gd name="T4" fmla="*/ 930 w 930"/>
                        <a:gd name="T5" fmla="*/ 607 h 670"/>
                        <a:gd name="T6" fmla="*/ 927 w 930"/>
                        <a:gd name="T7" fmla="*/ 670 h 670"/>
                        <a:gd name="T8" fmla="*/ 447 w 930"/>
                        <a:gd name="T9" fmla="*/ 670 h 670"/>
                        <a:gd name="T10" fmla="*/ 447 w 930"/>
                        <a:gd name="T11" fmla="*/ 234 h 670"/>
                        <a:gd name="T12" fmla="*/ 428 w 930"/>
                        <a:gd name="T13" fmla="*/ 234 h 670"/>
                        <a:gd name="T14" fmla="*/ 339 w 930"/>
                        <a:gd name="T15" fmla="*/ 367 h 670"/>
                        <a:gd name="T16" fmla="*/ 271 w 930"/>
                        <a:gd name="T17" fmla="*/ 396 h 670"/>
                        <a:gd name="T18" fmla="*/ 62 w 930"/>
                        <a:gd name="T19" fmla="*/ 396 h 670"/>
                        <a:gd name="T20" fmla="*/ 0 w 930"/>
                        <a:gd name="T21" fmla="*/ 333 h 670"/>
                        <a:gd name="T22" fmla="*/ 62 w 930"/>
                        <a:gd name="T23" fmla="*/ 271 h 670"/>
                        <a:gd name="T24" fmla="*/ 253 w 930"/>
                        <a:gd name="T25" fmla="*/ 271 h 670"/>
                        <a:gd name="T26" fmla="*/ 384 w 930"/>
                        <a:gd name="T27" fmla="*/ 72 h 670"/>
                        <a:gd name="T28" fmla="*/ 527 w 930"/>
                        <a:gd name="T29" fmla="*/ 1 h 670"/>
                        <a:gd name="T30" fmla="*/ 626 w 930"/>
                        <a:gd name="T31" fmla="*/ 200 h 670"/>
                        <a:gd name="T32" fmla="*/ 626 w 930"/>
                        <a:gd name="T33" fmla="*/ 433 h 670"/>
                        <a:gd name="T34" fmla="*/ 595 w 930"/>
                        <a:gd name="T35" fmla="*/ 479 h 670"/>
                        <a:gd name="T36" fmla="*/ 645 w 930"/>
                        <a:gd name="T37" fmla="*/ 529 h 670"/>
                        <a:gd name="T38" fmla="*/ 695 w 930"/>
                        <a:gd name="T39" fmla="*/ 479 h 670"/>
                        <a:gd name="T40" fmla="*/ 664 w 930"/>
                        <a:gd name="T41" fmla="*/ 433 h 670"/>
                        <a:gd name="T42" fmla="*/ 664 w 930"/>
                        <a:gd name="T43" fmla="*/ 200 h 670"/>
                        <a:gd name="T44" fmla="*/ 762 w 930"/>
                        <a:gd name="T45" fmla="*/ 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0" h="670">
                          <a:moveTo>
                            <a:pt x="762" y="0"/>
                          </a:moveTo>
                          <a:cubicBezTo>
                            <a:pt x="867" y="0"/>
                            <a:pt x="930" y="63"/>
                            <a:pt x="930" y="158"/>
                          </a:cubicBezTo>
                          <a:lnTo>
                            <a:pt x="930" y="607"/>
                          </a:lnTo>
                          <a:cubicBezTo>
                            <a:pt x="930" y="642"/>
                            <a:pt x="927" y="670"/>
                            <a:pt x="927" y="670"/>
                          </a:cubicBezTo>
                          <a:lnTo>
                            <a:pt x="447" y="670"/>
                          </a:lnTo>
                          <a:lnTo>
                            <a:pt x="447" y="234"/>
                          </a:lnTo>
                          <a:lnTo>
                            <a:pt x="428" y="234"/>
                          </a:lnTo>
                          <a:lnTo>
                            <a:pt x="339" y="367"/>
                          </a:lnTo>
                          <a:cubicBezTo>
                            <a:pt x="324" y="386"/>
                            <a:pt x="295" y="396"/>
                            <a:pt x="271" y="396"/>
                          </a:cubicBezTo>
                          <a:lnTo>
                            <a:pt x="62" y="396"/>
                          </a:lnTo>
                          <a:cubicBezTo>
                            <a:pt x="28" y="396"/>
                            <a:pt x="0" y="368"/>
                            <a:pt x="0" y="333"/>
                          </a:cubicBezTo>
                          <a:cubicBezTo>
                            <a:pt x="0" y="299"/>
                            <a:pt x="28" y="271"/>
                            <a:pt x="62" y="271"/>
                          </a:cubicBezTo>
                          <a:lnTo>
                            <a:pt x="253" y="271"/>
                          </a:lnTo>
                          <a:lnTo>
                            <a:pt x="384" y="72"/>
                          </a:lnTo>
                          <a:cubicBezTo>
                            <a:pt x="416" y="24"/>
                            <a:pt x="475" y="1"/>
                            <a:pt x="527" y="1"/>
                          </a:cubicBezTo>
                          <a:cubicBezTo>
                            <a:pt x="527" y="141"/>
                            <a:pt x="562" y="200"/>
                            <a:pt x="626" y="200"/>
                          </a:cubicBezTo>
                          <a:lnTo>
                            <a:pt x="626" y="433"/>
                          </a:lnTo>
                          <a:cubicBezTo>
                            <a:pt x="608" y="441"/>
                            <a:pt x="595" y="459"/>
                            <a:pt x="595" y="479"/>
                          </a:cubicBezTo>
                          <a:cubicBezTo>
                            <a:pt x="595" y="507"/>
                            <a:pt x="617" y="529"/>
                            <a:pt x="645" y="529"/>
                          </a:cubicBezTo>
                          <a:cubicBezTo>
                            <a:pt x="673" y="529"/>
                            <a:pt x="695" y="506"/>
                            <a:pt x="695" y="479"/>
                          </a:cubicBezTo>
                          <a:cubicBezTo>
                            <a:pt x="695" y="458"/>
                            <a:pt x="682" y="440"/>
                            <a:pt x="664" y="433"/>
                          </a:cubicBezTo>
                          <a:lnTo>
                            <a:pt x="664" y="200"/>
                          </a:lnTo>
                          <a:cubicBezTo>
                            <a:pt x="727" y="200"/>
                            <a:pt x="762" y="140"/>
                            <a:pt x="762"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14">
                      <a:extLst>
                        <a:ext uri="{FF2B5EF4-FFF2-40B4-BE49-F238E27FC236}">
                          <a16:creationId xmlns:a16="http://schemas.microsoft.com/office/drawing/2014/main" id="{F6CC81A7-6819-49C3-B631-A8CB037681AB}"/>
                        </a:ext>
                      </a:extLst>
                    </p:cNvPr>
                    <p:cNvSpPr>
                      <a:spLocks/>
                    </p:cNvSpPr>
                    <p:nvPr/>
                  </p:nvSpPr>
                  <p:spPr bwMode="auto">
                    <a:xfrm>
                      <a:off x="5323" y="3029"/>
                      <a:ext cx="185" cy="193"/>
                    </a:xfrm>
                    <a:custGeom>
                      <a:avLst/>
                      <a:gdLst>
                        <a:gd name="T0" fmla="*/ 156 w 156"/>
                        <a:gd name="T1" fmla="*/ 0 h 163"/>
                        <a:gd name="T2" fmla="*/ 78 w 156"/>
                        <a:gd name="T3" fmla="*/ 163 h 163"/>
                        <a:gd name="T4" fmla="*/ 0 w 156"/>
                        <a:gd name="T5" fmla="*/ 0 h 163"/>
                        <a:gd name="T6" fmla="*/ 156 w 156"/>
                        <a:gd name="T7" fmla="*/ 0 h 163"/>
                      </a:gdLst>
                      <a:ahLst/>
                      <a:cxnLst>
                        <a:cxn ang="0">
                          <a:pos x="T0" y="T1"/>
                        </a:cxn>
                        <a:cxn ang="0">
                          <a:pos x="T2" y="T3"/>
                        </a:cxn>
                        <a:cxn ang="0">
                          <a:pos x="T4" y="T5"/>
                        </a:cxn>
                        <a:cxn ang="0">
                          <a:pos x="T6" y="T7"/>
                        </a:cxn>
                      </a:cxnLst>
                      <a:rect l="0" t="0" r="r" b="b"/>
                      <a:pathLst>
                        <a:path w="156" h="163">
                          <a:moveTo>
                            <a:pt x="156" y="0"/>
                          </a:moveTo>
                          <a:cubicBezTo>
                            <a:pt x="155" y="144"/>
                            <a:pt x="130" y="163"/>
                            <a:pt x="78" y="163"/>
                          </a:cubicBezTo>
                          <a:cubicBezTo>
                            <a:pt x="26" y="163"/>
                            <a:pt x="1" y="144"/>
                            <a:pt x="0" y="0"/>
                          </a:cubicBezTo>
                          <a:lnTo>
                            <a:pt x="1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Oval 15">
                      <a:extLst>
                        <a:ext uri="{FF2B5EF4-FFF2-40B4-BE49-F238E27FC236}">
                          <a16:creationId xmlns:a16="http://schemas.microsoft.com/office/drawing/2014/main" id="{1C52158E-58B1-47C4-BB0B-9EA169BE8ABB}"/>
                        </a:ext>
                      </a:extLst>
                    </p:cNvPr>
                    <p:cNvSpPr>
                      <a:spLocks noChangeArrowheads="1"/>
                    </p:cNvSpPr>
                    <p:nvPr/>
                  </p:nvSpPr>
                  <p:spPr bwMode="auto">
                    <a:xfrm>
                      <a:off x="5244" y="2644"/>
                      <a:ext cx="340" cy="341"/>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0" name="TextBox 29">
                    <a:extLst>
                      <a:ext uri="{FF2B5EF4-FFF2-40B4-BE49-F238E27FC236}">
                        <a16:creationId xmlns:a16="http://schemas.microsoft.com/office/drawing/2014/main" id="{934EB929-586F-4C3C-81AC-7E95FCFFDCB4}"/>
                      </a:ext>
                    </a:extLst>
                  </p:cNvPr>
                  <p:cNvSpPr txBox="1"/>
                  <p:nvPr/>
                </p:nvSpPr>
                <p:spPr>
                  <a:xfrm rot="20905923">
                    <a:off x="1041748" y="4752503"/>
                    <a:ext cx="2975625" cy="461665"/>
                  </a:xfrm>
                  <a:prstGeom prst="rect">
                    <a:avLst/>
                  </a:prstGeom>
                  <a:noFill/>
                </p:spPr>
                <p:txBody>
                  <a:bodyPr wrap="square" rtlCol="0">
                    <a:spAutoFit/>
                  </a:bodyPr>
                  <a:lstStyle/>
                  <a:p>
                    <a:pPr algn="ctr"/>
                    <a:r>
                      <a:rPr lang="en-US" sz="2400" dirty="0">
                        <a:solidFill>
                          <a:srgbClr val="F7C5A3"/>
                        </a:solidFill>
                        <a:latin typeface="Quicksand Bold" pitchFamily="50" charset="0"/>
                      </a:rPr>
                      <a:t>Doctor</a:t>
                    </a:r>
                    <a:endParaRPr lang="en-SG" sz="2400" dirty="0">
                      <a:solidFill>
                        <a:srgbClr val="F7C5A3"/>
                      </a:solidFill>
                      <a:latin typeface="Quicksand Bold" pitchFamily="50" charset="0"/>
                    </a:endParaRPr>
                  </a:p>
                </p:txBody>
              </p:sp>
            </p:grpSp>
          </p:grpSp>
          <p:sp>
            <p:nvSpPr>
              <p:cNvPr id="16" name="Isosceles Triangle 15">
                <a:extLst>
                  <a:ext uri="{FF2B5EF4-FFF2-40B4-BE49-F238E27FC236}">
                    <a16:creationId xmlns:a16="http://schemas.microsoft.com/office/drawing/2014/main" id="{0B603853-51B0-4331-BB02-1CAB5B124CD7}"/>
                  </a:ext>
                </a:extLst>
              </p:cNvPr>
              <p:cNvSpPr/>
              <p:nvPr/>
            </p:nvSpPr>
            <p:spPr>
              <a:xfrm rot="5400000">
                <a:off x="13263904" y="3092302"/>
                <a:ext cx="853392" cy="781049"/>
              </a:xfrm>
              <a:prstGeom prst="triangl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7" name="Group 6">
              <a:extLst>
                <a:ext uri="{FF2B5EF4-FFF2-40B4-BE49-F238E27FC236}">
                  <a16:creationId xmlns:a16="http://schemas.microsoft.com/office/drawing/2014/main" id="{E7A7F413-5296-44CE-BC23-4AE7A559CB99}"/>
                </a:ext>
              </a:extLst>
            </p:cNvPr>
            <p:cNvGrpSpPr/>
            <p:nvPr/>
          </p:nvGrpSpPr>
          <p:grpSpPr>
            <a:xfrm>
              <a:off x="13820775" y="2118539"/>
              <a:ext cx="3015090" cy="3032424"/>
              <a:chOff x="13589272" y="2273191"/>
              <a:chExt cx="3015090" cy="3032424"/>
            </a:xfrm>
          </p:grpSpPr>
          <p:pic>
            <p:nvPicPr>
              <p:cNvPr id="6" name="Graphic 5">
                <a:extLst>
                  <a:ext uri="{FF2B5EF4-FFF2-40B4-BE49-F238E27FC236}">
                    <a16:creationId xmlns:a16="http://schemas.microsoft.com/office/drawing/2014/main" id="{D0823134-F736-4454-92FF-77F161A66CED}"/>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b="15620"/>
              <a:stretch/>
            </p:blipFill>
            <p:spPr>
              <a:xfrm rot="506067">
                <a:off x="13886165" y="2273191"/>
                <a:ext cx="2718197" cy="2867025"/>
              </a:xfrm>
              <a:prstGeom prst="rect">
                <a:avLst/>
              </a:prstGeom>
            </p:spPr>
          </p:pic>
          <p:sp>
            <p:nvSpPr>
              <p:cNvPr id="25" name="TextBox 24">
                <a:extLst>
                  <a:ext uri="{FF2B5EF4-FFF2-40B4-BE49-F238E27FC236}">
                    <a16:creationId xmlns:a16="http://schemas.microsoft.com/office/drawing/2014/main" id="{18FCAF50-3971-484D-BA5C-A7202204424C}"/>
                  </a:ext>
                </a:extLst>
              </p:cNvPr>
              <p:cNvSpPr txBox="1"/>
              <p:nvPr/>
            </p:nvSpPr>
            <p:spPr>
              <a:xfrm rot="473799">
                <a:off x="13589272" y="4843950"/>
                <a:ext cx="2975625" cy="461665"/>
              </a:xfrm>
              <a:prstGeom prst="rect">
                <a:avLst/>
              </a:prstGeom>
              <a:noFill/>
            </p:spPr>
            <p:txBody>
              <a:bodyPr wrap="square" rtlCol="0">
                <a:spAutoFit/>
              </a:bodyPr>
              <a:lstStyle/>
              <a:p>
                <a:pPr algn="ctr"/>
                <a:r>
                  <a:rPr lang="en-US" sz="2400" dirty="0">
                    <a:solidFill>
                      <a:srgbClr val="F7C5A3"/>
                    </a:solidFill>
                    <a:latin typeface="Quicksand Bold" pitchFamily="50" charset="0"/>
                  </a:rPr>
                  <a:t>Pharmacist</a:t>
                </a:r>
                <a:endParaRPr lang="en-SG" sz="2400" dirty="0">
                  <a:solidFill>
                    <a:srgbClr val="F7C5A3"/>
                  </a:solidFill>
                  <a:latin typeface="Quicksand Bold" pitchFamily="50" charset="0"/>
                </a:endParaRPr>
              </a:p>
            </p:txBody>
          </p:sp>
        </p:grpSp>
      </p:grpSp>
    </p:spTree>
    <p:extLst>
      <p:ext uri="{BB962C8B-B14F-4D97-AF65-F5344CB8AC3E}">
        <p14:creationId xmlns:p14="http://schemas.microsoft.com/office/powerpoint/2010/main" val="1989221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withEffect">
                                  <p:stCondLst>
                                    <p:cond delay="0"/>
                                  </p:stCondLst>
                                  <p:childTnLst>
                                    <p:animMotion origin="layout" path="M -2.91667E-6 -3.7037E-7 L -0.43203 -3.7037E-7 " pathEditMode="relative" rAng="0" ptsTypes="AA">
                                      <p:cBhvr>
                                        <p:cTn id="6" dur="1000" fill="hold"/>
                                        <p:tgtEl>
                                          <p:spTgt spid="8"/>
                                        </p:tgtEl>
                                        <p:attrNameLst>
                                          <p:attrName>ppt_x</p:attrName>
                                          <p:attrName>ppt_y</p:attrName>
                                        </p:attrNameLst>
                                      </p:cBhvr>
                                      <p:rCtr x="-2160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526DE6F-8A2F-472A-80C6-72DCAEE2789A}"/>
              </a:ext>
            </a:extLst>
          </p:cNvPr>
          <p:cNvGrpSpPr/>
          <p:nvPr/>
        </p:nvGrpSpPr>
        <p:grpSpPr>
          <a:xfrm>
            <a:off x="-4228752" y="1817819"/>
            <a:ext cx="15794117" cy="3416300"/>
            <a:chOff x="1041748" y="1817819"/>
            <a:chExt cx="15794117" cy="3416300"/>
          </a:xfrm>
        </p:grpSpPr>
        <p:grpSp>
          <p:nvGrpSpPr>
            <p:cNvPr id="4" name="Group 3">
              <a:extLst>
                <a:ext uri="{FF2B5EF4-FFF2-40B4-BE49-F238E27FC236}">
                  <a16:creationId xmlns:a16="http://schemas.microsoft.com/office/drawing/2014/main" id="{2B652F51-FE31-415F-94C9-39B51C5F2AC7}"/>
                </a:ext>
              </a:extLst>
            </p:cNvPr>
            <p:cNvGrpSpPr/>
            <p:nvPr/>
          </p:nvGrpSpPr>
          <p:grpSpPr>
            <a:xfrm>
              <a:off x="1041748" y="1817819"/>
              <a:ext cx="13039376" cy="3416300"/>
              <a:chOff x="1041748" y="1817819"/>
              <a:chExt cx="13039376" cy="3416300"/>
            </a:xfrm>
          </p:grpSpPr>
          <p:grpSp>
            <p:nvGrpSpPr>
              <p:cNvPr id="3" name="Group 2">
                <a:extLst>
                  <a:ext uri="{FF2B5EF4-FFF2-40B4-BE49-F238E27FC236}">
                    <a16:creationId xmlns:a16="http://schemas.microsoft.com/office/drawing/2014/main" id="{652C27C8-ADDF-4127-A8CD-5C896AD418E3}"/>
                  </a:ext>
                </a:extLst>
              </p:cNvPr>
              <p:cNvGrpSpPr/>
              <p:nvPr/>
            </p:nvGrpSpPr>
            <p:grpSpPr>
              <a:xfrm>
                <a:off x="1041748" y="1817819"/>
                <a:ext cx="12331352" cy="3416300"/>
                <a:chOff x="1041748" y="1817819"/>
                <a:chExt cx="12331352" cy="3416300"/>
              </a:xfrm>
            </p:grpSpPr>
            <p:grpSp>
              <p:nvGrpSpPr>
                <p:cNvPr id="29" name="Group 28">
                  <a:extLst>
                    <a:ext uri="{FF2B5EF4-FFF2-40B4-BE49-F238E27FC236}">
                      <a16:creationId xmlns:a16="http://schemas.microsoft.com/office/drawing/2014/main" id="{C550CB7A-3405-4116-A7DF-0E12F5063F56}"/>
                    </a:ext>
                  </a:extLst>
                </p:cNvPr>
                <p:cNvGrpSpPr/>
                <p:nvPr/>
              </p:nvGrpSpPr>
              <p:grpSpPr>
                <a:xfrm>
                  <a:off x="4406900" y="1817819"/>
                  <a:ext cx="8966200" cy="3416300"/>
                  <a:chOff x="4406900" y="1817819"/>
                  <a:chExt cx="8966200" cy="3416300"/>
                </a:xfrm>
              </p:grpSpPr>
              <p:sp>
                <p:nvSpPr>
                  <p:cNvPr id="20" name="Rectangle: Rounded Corners 19">
                    <a:extLst>
                      <a:ext uri="{FF2B5EF4-FFF2-40B4-BE49-F238E27FC236}">
                        <a16:creationId xmlns:a16="http://schemas.microsoft.com/office/drawing/2014/main" id="{EE44E968-D891-4EB4-AB8B-8F134646A834}"/>
                      </a:ext>
                    </a:extLst>
                  </p:cNvPr>
                  <p:cNvSpPr/>
                  <p:nvPr/>
                </p:nvSpPr>
                <p:spPr>
                  <a:xfrm>
                    <a:off x="5114925" y="1817819"/>
                    <a:ext cx="8258175" cy="34163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7" name="Isosceles Triangle 16">
                    <a:extLst>
                      <a:ext uri="{FF2B5EF4-FFF2-40B4-BE49-F238E27FC236}">
                        <a16:creationId xmlns:a16="http://schemas.microsoft.com/office/drawing/2014/main" id="{459EAE34-4BD7-4BCE-AA87-0F55CE49D49E}"/>
                      </a:ext>
                    </a:extLst>
                  </p:cNvPr>
                  <p:cNvSpPr/>
                  <p:nvPr/>
                </p:nvSpPr>
                <p:spPr>
                  <a:xfrm rot="16200000">
                    <a:off x="4370729" y="3079135"/>
                    <a:ext cx="853392" cy="781049"/>
                  </a:xfrm>
                  <a:prstGeom prst="triangl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sp>
              <p:nvSpPr>
                <p:cNvPr id="39" name="TextBox 38">
                  <a:extLst>
                    <a:ext uri="{FF2B5EF4-FFF2-40B4-BE49-F238E27FC236}">
                      <a16:creationId xmlns:a16="http://schemas.microsoft.com/office/drawing/2014/main" id="{AFD07DFB-EF86-41C6-BD3F-22538BB395CF}"/>
                    </a:ext>
                  </a:extLst>
                </p:cNvPr>
                <p:cNvSpPr txBox="1"/>
                <p:nvPr/>
              </p:nvSpPr>
              <p:spPr>
                <a:xfrm>
                  <a:off x="5676901" y="2618496"/>
                  <a:ext cx="7175499" cy="769441"/>
                </a:xfrm>
                <a:prstGeom prst="rect">
                  <a:avLst/>
                </a:prstGeom>
                <a:noFill/>
              </p:spPr>
              <p:txBody>
                <a:bodyPr wrap="square" rtlCol="0">
                  <a:spAutoFit/>
                </a:bodyPr>
                <a:lstStyle/>
                <a:p>
                  <a:r>
                    <a:rPr lang="en-US" sz="4400" dirty="0">
                      <a:latin typeface="Quicksand Book" panose="02070303000000060000" pitchFamily="18" charset="0"/>
                    </a:rPr>
                    <a:t>Loratadine 1 dose/day </a:t>
                  </a:r>
                  <a:r>
                    <a:rPr lang="en-SG" sz="4400" b="1" i="0" dirty="0">
                      <a:solidFill>
                        <a:srgbClr val="202124"/>
                      </a:solidFill>
                      <a:effectLst/>
                      <a:latin typeface="arial" panose="020B0604020202020204" pitchFamily="34" charset="0"/>
                    </a:rPr>
                    <a:t>✓</a:t>
                  </a:r>
                  <a:endParaRPr lang="en-US" sz="4400" dirty="0">
                    <a:latin typeface="Quicksand Book" panose="02070303000000060000" pitchFamily="18" charset="0"/>
                  </a:endParaRPr>
                </a:p>
              </p:txBody>
            </p:sp>
            <p:sp>
              <p:nvSpPr>
                <p:cNvPr id="40" name="TextBox 39">
                  <a:extLst>
                    <a:ext uri="{FF2B5EF4-FFF2-40B4-BE49-F238E27FC236}">
                      <a16:creationId xmlns:a16="http://schemas.microsoft.com/office/drawing/2014/main" id="{9BCE3406-564C-4460-BA09-458CEEB4C4E6}"/>
                    </a:ext>
                  </a:extLst>
                </p:cNvPr>
                <p:cNvSpPr txBox="1"/>
                <p:nvPr/>
              </p:nvSpPr>
              <p:spPr>
                <a:xfrm>
                  <a:off x="5676901" y="3706703"/>
                  <a:ext cx="7175499" cy="769441"/>
                </a:xfrm>
                <a:prstGeom prst="rect">
                  <a:avLst/>
                </a:prstGeom>
                <a:noFill/>
              </p:spPr>
              <p:txBody>
                <a:bodyPr wrap="square" rtlCol="0">
                  <a:spAutoFit/>
                </a:bodyPr>
                <a:lstStyle/>
                <a:p>
                  <a:r>
                    <a:rPr lang="en-US" sz="4400" dirty="0">
                      <a:latin typeface="Quicksand Book" panose="02070303000000060000" pitchFamily="18" charset="0"/>
                    </a:rPr>
                    <a:t>Ibuprofen 3 doses/day </a:t>
                  </a:r>
                  <a:r>
                    <a:rPr lang="en-SG" sz="4400" b="1" i="0" dirty="0">
                      <a:solidFill>
                        <a:srgbClr val="202124"/>
                      </a:solidFill>
                      <a:effectLst/>
                      <a:latin typeface="arial" panose="020B0604020202020204" pitchFamily="34" charset="0"/>
                    </a:rPr>
                    <a:t>✓</a:t>
                  </a:r>
                  <a:endParaRPr lang="en-US" sz="4400" dirty="0">
                    <a:latin typeface="Quicksand Book" panose="02070303000000060000" pitchFamily="18" charset="0"/>
                  </a:endParaRPr>
                </a:p>
              </p:txBody>
            </p:sp>
            <p:grpSp>
              <p:nvGrpSpPr>
                <p:cNvPr id="31" name="Group 30">
                  <a:extLst>
                    <a:ext uri="{FF2B5EF4-FFF2-40B4-BE49-F238E27FC236}">
                      <a16:creationId xmlns:a16="http://schemas.microsoft.com/office/drawing/2014/main" id="{D74DB197-B385-4173-8303-5A281D9DE7DC}"/>
                    </a:ext>
                  </a:extLst>
                </p:cNvPr>
                <p:cNvGrpSpPr/>
                <p:nvPr/>
              </p:nvGrpSpPr>
              <p:grpSpPr>
                <a:xfrm>
                  <a:off x="1041748" y="2107030"/>
                  <a:ext cx="2975625" cy="3107138"/>
                  <a:chOff x="1041748" y="2107030"/>
                  <a:chExt cx="2975625" cy="3107138"/>
                </a:xfrm>
              </p:grpSpPr>
              <p:grpSp>
                <p:nvGrpSpPr>
                  <p:cNvPr id="21" name="Doctor" descr="{&quot;Key&quot;:&quot;POWER_USER_SHAPE_ICON&quot;,&quot;Value&quot;:&quot;POWER_USER_SHAPE_ICON_STYLE_1&quot;}">
                    <a:extLst>
                      <a:ext uri="{FF2B5EF4-FFF2-40B4-BE49-F238E27FC236}">
                        <a16:creationId xmlns:a16="http://schemas.microsoft.com/office/drawing/2014/main" id="{E53BE4F9-082C-40E1-985F-7580E9D3462D}"/>
                      </a:ext>
                    </a:extLst>
                  </p:cNvPr>
                  <p:cNvGrpSpPr>
                    <a:grpSpLocks/>
                  </p:cNvGrpSpPr>
                  <p:nvPr>
                    <p:custDataLst>
                      <p:tags r:id="rId1"/>
                    </p:custDataLst>
                  </p:nvPr>
                </p:nvGrpSpPr>
                <p:grpSpPr bwMode="auto">
                  <a:xfrm rot="20858588" flipH="1">
                    <a:off x="1460179" y="2107030"/>
                    <a:ext cx="2511425" cy="2595434"/>
                    <a:chOff x="4650" y="2644"/>
                    <a:chExt cx="1103" cy="1180"/>
                  </a:xfrm>
                  <a:solidFill>
                    <a:srgbClr val="F7C5A3"/>
                  </a:solidFill>
                </p:grpSpPr>
                <p:sp>
                  <p:nvSpPr>
                    <p:cNvPr id="22" name="Freeform 13">
                      <a:extLst>
                        <a:ext uri="{FF2B5EF4-FFF2-40B4-BE49-F238E27FC236}">
                          <a16:creationId xmlns:a16="http://schemas.microsoft.com/office/drawing/2014/main" id="{8AFAA26C-720E-46DE-8EC8-D7BCA3C8271F}"/>
                        </a:ext>
                      </a:extLst>
                    </p:cNvPr>
                    <p:cNvSpPr>
                      <a:spLocks/>
                    </p:cNvSpPr>
                    <p:nvPr/>
                  </p:nvSpPr>
                  <p:spPr bwMode="auto">
                    <a:xfrm>
                      <a:off x="4650" y="3029"/>
                      <a:ext cx="1103" cy="795"/>
                    </a:xfrm>
                    <a:custGeom>
                      <a:avLst/>
                      <a:gdLst>
                        <a:gd name="T0" fmla="*/ 762 w 930"/>
                        <a:gd name="T1" fmla="*/ 0 h 670"/>
                        <a:gd name="T2" fmla="*/ 930 w 930"/>
                        <a:gd name="T3" fmla="*/ 158 h 670"/>
                        <a:gd name="T4" fmla="*/ 930 w 930"/>
                        <a:gd name="T5" fmla="*/ 607 h 670"/>
                        <a:gd name="T6" fmla="*/ 927 w 930"/>
                        <a:gd name="T7" fmla="*/ 670 h 670"/>
                        <a:gd name="T8" fmla="*/ 447 w 930"/>
                        <a:gd name="T9" fmla="*/ 670 h 670"/>
                        <a:gd name="T10" fmla="*/ 447 w 930"/>
                        <a:gd name="T11" fmla="*/ 234 h 670"/>
                        <a:gd name="T12" fmla="*/ 428 w 930"/>
                        <a:gd name="T13" fmla="*/ 234 h 670"/>
                        <a:gd name="T14" fmla="*/ 339 w 930"/>
                        <a:gd name="T15" fmla="*/ 367 h 670"/>
                        <a:gd name="T16" fmla="*/ 271 w 930"/>
                        <a:gd name="T17" fmla="*/ 396 h 670"/>
                        <a:gd name="T18" fmla="*/ 62 w 930"/>
                        <a:gd name="T19" fmla="*/ 396 h 670"/>
                        <a:gd name="T20" fmla="*/ 0 w 930"/>
                        <a:gd name="T21" fmla="*/ 333 h 670"/>
                        <a:gd name="T22" fmla="*/ 62 w 930"/>
                        <a:gd name="T23" fmla="*/ 271 h 670"/>
                        <a:gd name="T24" fmla="*/ 253 w 930"/>
                        <a:gd name="T25" fmla="*/ 271 h 670"/>
                        <a:gd name="T26" fmla="*/ 384 w 930"/>
                        <a:gd name="T27" fmla="*/ 72 h 670"/>
                        <a:gd name="T28" fmla="*/ 527 w 930"/>
                        <a:gd name="T29" fmla="*/ 1 h 670"/>
                        <a:gd name="T30" fmla="*/ 626 w 930"/>
                        <a:gd name="T31" fmla="*/ 200 h 670"/>
                        <a:gd name="T32" fmla="*/ 626 w 930"/>
                        <a:gd name="T33" fmla="*/ 433 h 670"/>
                        <a:gd name="T34" fmla="*/ 595 w 930"/>
                        <a:gd name="T35" fmla="*/ 479 h 670"/>
                        <a:gd name="T36" fmla="*/ 645 w 930"/>
                        <a:gd name="T37" fmla="*/ 529 h 670"/>
                        <a:gd name="T38" fmla="*/ 695 w 930"/>
                        <a:gd name="T39" fmla="*/ 479 h 670"/>
                        <a:gd name="T40" fmla="*/ 664 w 930"/>
                        <a:gd name="T41" fmla="*/ 433 h 670"/>
                        <a:gd name="T42" fmla="*/ 664 w 930"/>
                        <a:gd name="T43" fmla="*/ 200 h 670"/>
                        <a:gd name="T44" fmla="*/ 762 w 930"/>
                        <a:gd name="T45" fmla="*/ 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0" h="670">
                          <a:moveTo>
                            <a:pt x="762" y="0"/>
                          </a:moveTo>
                          <a:cubicBezTo>
                            <a:pt x="867" y="0"/>
                            <a:pt x="930" y="63"/>
                            <a:pt x="930" y="158"/>
                          </a:cubicBezTo>
                          <a:lnTo>
                            <a:pt x="930" y="607"/>
                          </a:lnTo>
                          <a:cubicBezTo>
                            <a:pt x="930" y="642"/>
                            <a:pt x="927" y="670"/>
                            <a:pt x="927" y="670"/>
                          </a:cubicBezTo>
                          <a:lnTo>
                            <a:pt x="447" y="670"/>
                          </a:lnTo>
                          <a:lnTo>
                            <a:pt x="447" y="234"/>
                          </a:lnTo>
                          <a:lnTo>
                            <a:pt x="428" y="234"/>
                          </a:lnTo>
                          <a:lnTo>
                            <a:pt x="339" y="367"/>
                          </a:lnTo>
                          <a:cubicBezTo>
                            <a:pt x="324" y="386"/>
                            <a:pt x="295" y="396"/>
                            <a:pt x="271" y="396"/>
                          </a:cubicBezTo>
                          <a:lnTo>
                            <a:pt x="62" y="396"/>
                          </a:lnTo>
                          <a:cubicBezTo>
                            <a:pt x="28" y="396"/>
                            <a:pt x="0" y="368"/>
                            <a:pt x="0" y="333"/>
                          </a:cubicBezTo>
                          <a:cubicBezTo>
                            <a:pt x="0" y="299"/>
                            <a:pt x="28" y="271"/>
                            <a:pt x="62" y="271"/>
                          </a:cubicBezTo>
                          <a:lnTo>
                            <a:pt x="253" y="271"/>
                          </a:lnTo>
                          <a:lnTo>
                            <a:pt x="384" y="72"/>
                          </a:lnTo>
                          <a:cubicBezTo>
                            <a:pt x="416" y="24"/>
                            <a:pt x="475" y="1"/>
                            <a:pt x="527" y="1"/>
                          </a:cubicBezTo>
                          <a:cubicBezTo>
                            <a:pt x="527" y="141"/>
                            <a:pt x="562" y="200"/>
                            <a:pt x="626" y="200"/>
                          </a:cubicBezTo>
                          <a:lnTo>
                            <a:pt x="626" y="433"/>
                          </a:lnTo>
                          <a:cubicBezTo>
                            <a:pt x="608" y="441"/>
                            <a:pt x="595" y="459"/>
                            <a:pt x="595" y="479"/>
                          </a:cubicBezTo>
                          <a:cubicBezTo>
                            <a:pt x="595" y="507"/>
                            <a:pt x="617" y="529"/>
                            <a:pt x="645" y="529"/>
                          </a:cubicBezTo>
                          <a:cubicBezTo>
                            <a:pt x="673" y="529"/>
                            <a:pt x="695" y="506"/>
                            <a:pt x="695" y="479"/>
                          </a:cubicBezTo>
                          <a:cubicBezTo>
                            <a:pt x="695" y="458"/>
                            <a:pt x="682" y="440"/>
                            <a:pt x="664" y="433"/>
                          </a:cubicBezTo>
                          <a:lnTo>
                            <a:pt x="664" y="200"/>
                          </a:lnTo>
                          <a:cubicBezTo>
                            <a:pt x="727" y="200"/>
                            <a:pt x="762" y="140"/>
                            <a:pt x="762"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14">
                      <a:extLst>
                        <a:ext uri="{FF2B5EF4-FFF2-40B4-BE49-F238E27FC236}">
                          <a16:creationId xmlns:a16="http://schemas.microsoft.com/office/drawing/2014/main" id="{F6CC81A7-6819-49C3-B631-A8CB037681AB}"/>
                        </a:ext>
                      </a:extLst>
                    </p:cNvPr>
                    <p:cNvSpPr>
                      <a:spLocks/>
                    </p:cNvSpPr>
                    <p:nvPr/>
                  </p:nvSpPr>
                  <p:spPr bwMode="auto">
                    <a:xfrm>
                      <a:off x="5323" y="3029"/>
                      <a:ext cx="185" cy="193"/>
                    </a:xfrm>
                    <a:custGeom>
                      <a:avLst/>
                      <a:gdLst>
                        <a:gd name="T0" fmla="*/ 156 w 156"/>
                        <a:gd name="T1" fmla="*/ 0 h 163"/>
                        <a:gd name="T2" fmla="*/ 78 w 156"/>
                        <a:gd name="T3" fmla="*/ 163 h 163"/>
                        <a:gd name="T4" fmla="*/ 0 w 156"/>
                        <a:gd name="T5" fmla="*/ 0 h 163"/>
                        <a:gd name="T6" fmla="*/ 156 w 156"/>
                        <a:gd name="T7" fmla="*/ 0 h 163"/>
                      </a:gdLst>
                      <a:ahLst/>
                      <a:cxnLst>
                        <a:cxn ang="0">
                          <a:pos x="T0" y="T1"/>
                        </a:cxn>
                        <a:cxn ang="0">
                          <a:pos x="T2" y="T3"/>
                        </a:cxn>
                        <a:cxn ang="0">
                          <a:pos x="T4" y="T5"/>
                        </a:cxn>
                        <a:cxn ang="0">
                          <a:pos x="T6" y="T7"/>
                        </a:cxn>
                      </a:cxnLst>
                      <a:rect l="0" t="0" r="r" b="b"/>
                      <a:pathLst>
                        <a:path w="156" h="163">
                          <a:moveTo>
                            <a:pt x="156" y="0"/>
                          </a:moveTo>
                          <a:cubicBezTo>
                            <a:pt x="155" y="144"/>
                            <a:pt x="130" y="163"/>
                            <a:pt x="78" y="163"/>
                          </a:cubicBezTo>
                          <a:cubicBezTo>
                            <a:pt x="26" y="163"/>
                            <a:pt x="1" y="144"/>
                            <a:pt x="0" y="0"/>
                          </a:cubicBezTo>
                          <a:lnTo>
                            <a:pt x="1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Oval 15">
                      <a:extLst>
                        <a:ext uri="{FF2B5EF4-FFF2-40B4-BE49-F238E27FC236}">
                          <a16:creationId xmlns:a16="http://schemas.microsoft.com/office/drawing/2014/main" id="{1C52158E-58B1-47C4-BB0B-9EA169BE8ABB}"/>
                        </a:ext>
                      </a:extLst>
                    </p:cNvPr>
                    <p:cNvSpPr>
                      <a:spLocks noChangeArrowheads="1"/>
                    </p:cNvSpPr>
                    <p:nvPr/>
                  </p:nvSpPr>
                  <p:spPr bwMode="auto">
                    <a:xfrm>
                      <a:off x="5244" y="2644"/>
                      <a:ext cx="340" cy="341"/>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0" name="TextBox 29">
                    <a:extLst>
                      <a:ext uri="{FF2B5EF4-FFF2-40B4-BE49-F238E27FC236}">
                        <a16:creationId xmlns:a16="http://schemas.microsoft.com/office/drawing/2014/main" id="{934EB929-586F-4C3C-81AC-7E95FCFFDCB4}"/>
                      </a:ext>
                    </a:extLst>
                  </p:cNvPr>
                  <p:cNvSpPr txBox="1"/>
                  <p:nvPr/>
                </p:nvSpPr>
                <p:spPr>
                  <a:xfrm rot="20905923">
                    <a:off x="1041748" y="4752503"/>
                    <a:ext cx="2975625" cy="461665"/>
                  </a:xfrm>
                  <a:prstGeom prst="rect">
                    <a:avLst/>
                  </a:prstGeom>
                  <a:noFill/>
                </p:spPr>
                <p:txBody>
                  <a:bodyPr wrap="square" rtlCol="0">
                    <a:spAutoFit/>
                  </a:bodyPr>
                  <a:lstStyle/>
                  <a:p>
                    <a:pPr algn="ctr"/>
                    <a:r>
                      <a:rPr lang="en-US" sz="2400" dirty="0">
                        <a:solidFill>
                          <a:srgbClr val="F7C5A3"/>
                        </a:solidFill>
                        <a:latin typeface="Quicksand Bold" pitchFamily="50" charset="0"/>
                      </a:rPr>
                      <a:t>Doctor</a:t>
                    </a:r>
                    <a:endParaRPr lang="en-SG" sz="2400" dirty="0">
                      <a:solidFill>
                        <a:srgbClr val="F7C5A3"/>
                      </a:solidFill>
                      <a:latin typeface="Quicksand Bold" pitchFamily="50" charset="0"/>
                    </a:endParaRPr>
                  </a:p>
                </p:txBody>
              </p:sp>
            </p:grpSp>
          </p:grpSp>
          <p:sp>
            <p:nvSpPr>
              <p:cNvPr id="16" name="Isosceles Triangle 15">
                <a:extLst>
                  <a:ext uri="{FF2B5EF4-FFF2-40B4-BE49-F238E27FC236}">
                    <a16:creationId xmlns:a16="http://schemas.microsoft.com/office/drawing/2014/main" id="{0B603853-51B0-4331-BB02-1CAB5B124CD7}"/>
                  </a:ext>
                </a:extLst>
              </p:cNvPr>
              <p:cNvSpPr/>
              <p:nvPr/>
            </p:nvSpPr>
            <p:spPr>
              <a:xfrm rot="5400000">
                <a:off x="13263904" y="3092302"/>
                <a:ext cx="853392" cy="781049"/>
              </a:xfrm>
              <a:prstGeom prst="triangl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7" name="Group 6">
              <a:extLst>
                <a:ext uri="{FF2B5EF4-FFF2-40B4-BE49-F238E27FC236}">
                  <a16:creationId xmlns:a16="http://schemas.microsoft.com/office/drawing/2014/main" id="{E7A7F413-5296-44CE-BC23-4AE7A559CB99}"/>
                </a:ext>
              </a:extLst>
            </p:cNvPr>
            <p:cNvGrpSpPr/>
            <p:nvPr/>
          </p:nvGrpSpPr>
          <p:grpSpPr>
            <a:xfrm>
              <a:off x="13820775" y="2118539"/>
              <a:ext cx="3015090" cy="3032424"/>
              <a:chOff x="13589272" y="2273191"/>
              <a:chExt cx="3015090" cy="3032424"/>
            </a:xfrm>
          </p:grpSpPr>
          <p:pic>
            <p:nvPicPr>
              <p:cNvPr id="6" name="Graphic 5">
                <a:extLst>
                  <a:ext uri="{FF2B5EF4-FFF2-40B4-BE49-F238E27FC236}">
                    <a16:creationId xmlns:a16="http://schemas.microsoft.com/office/drawing/2014/main" id="{D0823134-F736-4454-92FF-77F161A66CED}"/>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b="15620"/>
              <a:stretch/>
            </p:blipFill>
            <p:spPr>
              <a:xfrm rot="506067">
                <a:off x="13886165" y="2273191"/>
                <a:ext cx="2718197" cy="2867025"/>
              </a:xfrm>
              <a:prstGeom prst="rect">
                <a:avLst/>
              </a:prstGeom>
            </p:spPr>
          </p:pic>
          <p:sp>
            <p:nvSpPr>
              <p:cNvPr id="25" name="TextBox 24">
                <a:extLst>
                  <a:ext uri="{FF2B5EF4-FFF2-40B4-BE49-F238E27FC236}">
                    <a16:creationId xmlns:a16="http://schemas.microsoft.com/office/drawing/2014/main" id="{18FCAF50-3971-484D-BA5C-A7202204424C}"/>
                  </a:ext>
                </a:extLst>
              </p:cNvPr>
              <p:cNvSpPr txBox="1"/>
              <p:nvPr/>
            </p:nvSpPr>
            <p:spPr>
              <a:xfrm rot="473799">
                <a:off x="13589272" y="4843950"/>
                <a:ext cx="2975625" cy="461665"/>
              </a:xfrm>
              <a:prstGeom prst="rect">
                <a:avLst/>
              </a:prstGeom>
              <a:noFill/>
            </p:spPr>
            <p:txBody>
              <a:bodyPr wrap="square" rtlCol="0">
                <a:spAutoFit/>
              </a:bodyPr>
              <a:lstStyle/>
              <a:p>
                <a:pPr algn="ctr"/>
                <a:r>
                  <a:rPr lang="en-US" sz="2400" dirty="0">
                    <a:solidFill>
                      <a:srgbClr val="F7C5A3"/>
                    </a:solidFill>
                    <a:latin typeface="Quicksand Bold" pitchFamily="50" charset="0"/>
                  </a:rPr>
                  <a:t>Pharmacist</a:t>
                </a:r>
                <a:endParaRPr lang="en-SG" sz="2400" dirty="0">
                  <a:solidFill>
                    <a:srgbClr val="F7C5A3"/>
                  </a:solidFill>
                  <a:latin typeface="Quicksand Bold" pitchFamily="50" charset="0"/>
                </a:endParaRPr>
              </a:p>
            </p:txBody>
          </p:sp>
        </p:grpSp>
      </p:grpSp>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pic>
        <p:nvPicPr>
          <p:cNvPr id="13" name="Graphic 12">
            <a:extLst>
              <a:ext uri="{FF2B5EF4-FFF2-40B4-BE49-F238E27FC236}">
                <a16:creationId xmlns:a16="http://schemas.microsoft.com/office/drawing/2014/main" id="{86F8DA97-E40B-4386-99ED-681C99780A0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39850" y="1752854"/>
            <a:ext cx="1305643" cy="1612853"/>
          </a:xfrm>
          <a:prstGeom prst="rect">
            <a:avLst/>
          </a:prstGeom>
        </p:spPr>
      </p:pic>
      <p:pic>
        <p:nvPicPr>
          <p:cNvPr id="26" name="Graphic 25">
            <a:extLst>
              <a:ext uri="{FF2B5EF4-FFF2-40B4-BE49-F238E27FC236}">
                <a16:creationId xmlns:a16="http://schemas.microsoft.com/office/drawing/2014/main" id="{07486689-BC00-4C91-8C41-1589BBD832C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22394" y="1753953"/>
            <a:ext cx="1186709" cy="1465935"/>
          </a:xfrm>
          <a:prstGeom prst="rect">
            <a:avLst/>
          </a:prstGeom>
        </p:spPr>
      </p:pic>
      <p:grpSp>
        <p:nvGrpSpPr>
          <p:cNvPr id="77" name="Group 76">
            <a:extLst>
              <a:ext uri="{FF2B5EF4-FFF2-40B4-BE49-F238E27FC236}">
                <a16:creationId xmlns:a16="http://schemas.microsoft.com/office/drawing/2014/main" id="{EE4FEAD1-C0EF-4BEA-AD03-20E6468A70DD}"/>
              </a:ext>
            </a:extLst>
          </p:cNvPr>
          <p:cNvGrpSpPr/>
          <p:nvPr/>
        </p:nvGrpSpPr>
        <p:grpSpPr>
          <a:xfrm>
            <a:off x="3993324" y="1747143"/>
            <a:ext cx="3244850" cy="3679003"/>
            <a:chOff x="8420100" y="1971880"/>
            <a:chExt cx="3244850" cy="3679003"/>
          </a:xfrm>
        </p:grpSpPr>
        <p:pic>
          <p:nvPicPr>
            <p:cNvPr id="79" name="Graphic 78">
              <a:extLst>
                <a:ext uri="{FF2B5EF4-FFF2-40B4-BE49-F238E27FC236}">
                  <a16:creationId xmlns:a16="http://schemas.microsoft.com/office/drawing/2014/main" id="{99742056-6B46-486F-A074-EB7C7647F681}"/>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t="-3431" b="19204"/>
            <a:stretch/>
          </p:blipFill>
          <p:spPr>
            <a:xfrm>
              <a:off x="8420100" y="1998552"/>
              <a:ext cx="3244850" cy="3416301"/>
            </a:xfrm>
            <a:prstGeom prst="rect">
              <a:avLst/>
            </a:prstGeom>
          </p:spPr>
        </p:pic>
        <p:sp>
          <p:nvSpPr>
            <p:cNvPr id="80" name="Isosceles Triangle 79">
              <a:extLst>
                <a:ext uri="{FF2B5EF4-FFF2-40B4-BE49-F238E27FC236}">
                  <a16:creationId xmlns:a16="http://schemas.microsoft.com/office/drawing/2014/main" id="{19110930-CD44-4A80-BFEB-7B3B2958F264}"/>
                </a:ext>
              </a:extLst>
            </p:cNvPr>
            <p:cNvSpPr/>
            <p:nvPr/>
          </p:nvSpPr>
          <p:spPr>
            <a:xfrm rot="10800000">
              <a:off x="8898480" y="1971880"/>
              <a:ext cx="2418809" cy="127871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81" name="Trapezoid 80">
              <a:extLst>
                <a:ext uri="{FF2B5EF4-FFF2-40B4-BE49-F238E27FC236}">
                  <a16:creationId xmlns:a16="http://schemas.microsoft.com/office/drawing/2014/main" id="{BF5F738E-CEDD-4F1A-A7CD-10EA03D6F2B5}"/>
                </a:ext>
              </a:extLst>
            </p:cNvPr>
            <p:cNvSpPr/>
            <p:nvPr/>
          </p:nvSpPr>
          <p:spPr>
            <a:xfrm rot="10800000">
              <a:off x="9022119" y="4953414"/>
              <a:ext cx="2176334" cy="697469"/>
            </a:xfrm>
            <a:prstGeom prst="trapezoid">
              <a:avLst>
                <a:gd name="adj" fmla="val 523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dirty="0"/>
            </a:p>
          </p:txBody>
        </p:sp>
      </p:grpSp>
      <p:sp>
        <p:nvSpPr>
          <p:cNvPr id="78" name="TextBox 77">
            <a:extLst>
              <a:ext uri="{FF2B5EF4-FFF2-40B4-BE49-F238E27FC236}">
                <a16:creationId xmlns:a16="http://schemas.microsoft.com/office/drawing/2014/main" id="{E4E8040B-0BB4-44B8-86F8-73B45667B7C4}"/>
              </a:ext>
            </a:extLst>
          </p:cNvPr>
          <p:cNvSpPr txBox="1"/>
          <p:nvPr/>
        </p:nvSpPr>
        <p:spPr>
          <a:xfrm rot="21264721">
            <a:off x="6569440" y="862049"/>
            <a:ext cx="3451374" cy="523220"/>
          </a:xfrm>
          <a:prstGeom prst="rect">
            <a:avLst/>
          </a:prstGeom>
          <a:noFill/>
        </p:spPr>
        <p:txBody>
          <a:bodyPr wrap="square" rtlCol="0">
            <a:spAutoFit/>
          </a:bodyPr>
          <a:lstStyle/>
          <a:p>
            <a:pPr algn="ctr"/>
            <a:r>
              <a:rPr lang="en-US" sz="2800" dirty="0">
                <a:solidFill>
                  <a:schemeClr val="bg1"/>
                </a:solidFill>
                <a:latin typeface="Quicksand Bold" pitchFamily="50" charset="0"/>
              </a:rPr>
              <a:t>PHOBO</a:t>
            </a:r>
            <a:endParaRPr lang="en-SG" sz="2800" dirty="0">
              <a:solidFill>
                <a:schemeClr val="bg1"/>
              </a:solidFill>
              <a:latin typeface="Quicksand Bold" pitchFamily="50" charset="0"/>
            </a:endParaRPr>
          </a:p>
        </p:txBody>
      </p:sp>
      <p:pic>
        <p:nvPicPr>
          <p:cNvPr id="83" name="Graphic 82">
            <a:extLst>
              <a:ext uri="{FF2B5EF4-FFF2-40B4-BE49-F238E27FC236}">
                <a16:creationId xmlns:a16="http://schemas.microsoft.com/office/drawing/2014/main" id="{81F138D8-AA6E-403F-8DA0-A9460CDDFDA2}"/>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l="2472" t="13101" r="28" b="36217"/>
          <a:stretch/>
        </p:blipFill>
        <p:spPr>
          <a:xfrm flipH="1">
            <a:off x="6656237" y="998054"/>
            <a:ext cx="1071562" cy="603425"/>
          </a:xfrm>
          <a:prstGeom prst="rect">
            <a:avLst/>
          </a:prstGeom>
        </p:spPr>
      </p:pic>
    </p:spTree>
    <p:extLst>
      <p:ext uri="{BB962C8B-B14F-4D97-AF65-F5344CB8AC3E}">
        <p14:creationId xmlns:p14="http://schemas.microsoft.com/office/powerpoint/2010/main" val="1451626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withEffect">
                                  <p:stCondLst>
                                    <p:cond delay="0"/>
                                  </p:stCondLst>
                                  <p:childTnLst>
                                    <p:animMotion origin="layout" path="M -1.25E-6 -3.7037E-7 L -0.61888 -3.7037E-7 " pathEditMode="relative" rAng="0" ptsTypes="AA">
                                      <p:cBhvr>
                                        <p:cTn id="6" dur="1000" fill="hold"/>
                                        <p:tgtEl>
                                          <p:spTgt spid="8"/>
                                        </p:tgtEl>
                                        <p:attrNameLst>
                                          <p:attrName>ppt_x</p:attrName>
                                          <p:attrName>ppt_y</p:attrName>
                                        </p:attrNameLst>
                                      </p:cBhvr>
                                      <p:rCtr x="-30937" y="0"/>
                                    </p:animMotion>
                                  </p:childTnLst>
                                </p:cTn>
                              </p:par>
                            </p:childTnLst>
                          </p:cTn>
                        </p:par>
                      </p:childTnLst>
                    </p:cTn>
                  </p:par>
                  <p:par>
                    <p:cTn id="7" fill="hold">
                      <p:stCondLst>
                        <p:cond delay="indefinite"/>
                      </p:stCondLst>
                      <p:childTnLst>
                        <p:par>
                          <p:cTn id="8" fill="hold">
                            <p:stCondLst>
                              <p:cond delay="0"/>
                            </p:stCondLst>
                            <p:childTnLst>
                              <p:par>
                                <p:cTn id="9" presetID="2" presetClass="entr" presetSubtype="2" decel="60000" fill="hold" nodeType="clickEffect">
                                  <p:stCondLst>
                                    <p:cond delay="0"/>
                                  </p:stCondLst>
                                  <p:childTnLst>
                                    <p:set>
                                      <p:cBhvr>
                                        <p:cTn id="10" dur="1" fill="hold">
                                          <p:stCondLst>
                                            <p:cond delay="0"/>
                                          </p:stCondLst>
                                        </p:cTn>
                                        <p:tgtEl>
                                          <p:spTgt spid="77"/>
                                        </p:tgtEl>
                                        <p:attrNameLst>
                                          <p:attrName>style.visibility</p:attrName>
                                        </p:attrNameLst>
                                      </p:cBhvr>
                                      <p:to>
                                        <p:strVal val="visible"/>
                                      </p:to>
                                    </p:set>
                                    <p:anim calcmode="lin" valueType="num">
                                      <p:cBhvr additive="base">
                                        <p:cTn id="11" dur="500" fill="hold"/>
                                        <p:tgtEl>
                                          <p:spTgt spid="77"/>
                                        </p:tgtEl>
                                        <p:attrNameLst>
                                          <p:attrName>ppt_x</p:attrName>
                                        </p:attrNameLst>
                                      </p:cBhvr>
                                      <p:tavLst>
                                        <p:tav tm="0">
                                          <p:val>
                                            <p:strVal val="1+#ppt_w/2"/>
                                          </p:val>
                                        </p:tav>
                                        <p:tav tm="100000">
                                          <p:val>
                                            <p:strVal val="#ppt_x"/>
                                          </p:val>
                                        </p:tav>
                                      </p:tavLst>
                                    </p:anim>
                                    <p:anim calcmode="lin" valueType="num">
                                      <p:cBhvr additive="base">
                                        <p:cTn id="12" dur="500" fill="hold"/>
                                        <p:tgtEl>
                                          <p:spTgt spid="77"/>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8"/>
                                        </p:tgtEl>
                                        <p:attrNameLst>
                                          <p:attrName>style.visibility</p:attrName>
                                        </p:attrNameLst>
                                      </p:cBhvr>
                                      <p:to>
                                        <p:strVal val="visible"/>
                                      </p:to>
                                    </p:set>
                                    <p:animEffect transition="in" filter="fade">
                                      <p:cBhvr>
                                        <p:cTn id="17" dur="500"/>
                                        <p:tgtEl>
                                          <p:spTgt spid="78"/>
                                        </p:tgtEl>
                                      </p:cBhvr>
                                    </p:animEffect>
                                  </p:childTnLst>
                                </p:cTn>
                              </p:par>
                              <p:par>
                                <p:cTn id="18" presetID="10" presetClass="entr" presetSubtype="0" fill="hold" nodeType="withEffect">
                                  <p:stCondLst>
                                    <p:cond delay="0"/>
                                  </p:stCondLst>
                                  <p:childTnLst>
                                    <p:set>
                                      <p:cBhvr>
                                        <p:cTn id="19" dur="1" fill="hold">
                                          <p:stCondLst>
                                            <p:cond delay="0"/>
                                          </p:stCondLst>
                                        </p:cTn>
                                        <p:tgtEl>
                                          <p:spTgt spid="83"/>
                                        </p:tgtEl>
                                        <p:attrNameLst>
                                          <p:attrName>style.visibility</p:attrName>
                                        </p:attrNameLst>
                                      </p:cBhvr>
                                      <p:to>
                                        <p:strVal val="visible"/>
                                      </p:to>
                                    </p:set>
                                    <p:animEffect transition="in" filter="fade">
                                      <p:cBhvr>
                                        <p:cTn id="20" dur="500"/>
                                        <p:tgtEl>
                                          <p:spTgt spid="83"/>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1" decel="60000" fill="hold" nodeType="click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0-#ppt_h/2"/>
                                          </p:val>
                                        </p:tav>
                                        <p:tav tm="100000">
                                          <p:val>
                                            <p:strVal val="#ppt_y"/>
                                          </p:val>
                                        </p:tav>
                                      </p:tavLst>
                                    </p:anim>
                                  </p:childTnLst>
                                </p:cTn>
                              </p:par>
                            </p:childTnLst>
                          </p:cTn>
                        </p:par>
                        <p:par>
                          <p:cTn id="27" fill="hold">
                            <p:stCondLst>
                              <p:cond delay="500"/>
                            </p:stCondLst>
                            <p:childTnLst>
                              <p:par>
                                <p:cTn id="28" presetID="2" presetClass="entr" presetSubtype="1" decel="60000" fill="hold" nodeType="afterEffect">
                                  <p:stCondLst>
                                    <p:cond delay="0"/>
                                  </p:stCondLst>
                                  <p:childTnLst>
                                    <p:set>
                                      <p:cBhvr>
                                        <p:cTn id="29" dur="1" fill="hold">
                                          <p:stCondLst>
                                            <p:cond delay="0"/>
                                          </p:stCondLst>
                                        </p:cTn>
                                        <p:tgtEl>
                                          <p:spTgt spid="26"/>
                                        </p:tgtEl>
                                        <p:attrNameLst>
                                          <p:attrName>style.visibility</p:attrName>
                                        </p:attrNameLst>
                                      </p:cBhvr>
                                      <p:to>
                                        <p:strVal val="visible"/>
                                      </p:to>
                                    </p:set>
                                    <p:anim calcmode="lin" valueType="num">
                                      <p:cBhvr additive="base">
                                        <p:cTn id="30" dur="500" fill="hold"/>
                                        <p:tgtEl>
                                          <p:spTgt spid="26"/>
                                        </p:tgtEl>
                                        <p:attrNameLst>
                                          <p:attrName>ppt_x</p:attrName>
                                        </p:attrNameLst>
                                      </p:cBhvr>
                                      <p:tavLst>
                                        <p:tav tm="0">
                                          <p:val>
                                            <p:strVal val="#ppt_x"/>
                                          </p:val>
                                        </p:tav>
                                        <p:tav tm="100000">
                                          <p:val>
                                            <p:strVal val="#ppt_x"/>
                                          </p:val>
                                        </p:tav>
                                      </p:tavLst>
                                    </p:anim>
                                    <p:anim calcmode="lin" valueType="num">
                                      <p:cBhvr additive="base">
                                        <p:cTn id="31" dur="500" fill="hold"/>
                                        <p:tgtEl>
                                          <p:spTgt spid="26"/>
                                        </p:tgtEl>
                                        <p:attrNameLst>
                                          <p:attrName>ppt_y</p:attrName>
                                        </p:attrNameLst>
                                      </p:cBhvr>
                                      <p:tavLst>
                                        <p:tav tm="0">
                                          <p:val>
                                            <p:strVal val="0-#ppt_h/2"/>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32" presetClass="emph" presetSubtype="0" fill="hold" nodeType="clickEffect">
                                  <p:stCondLst>
                                    <p:cond delay="0"/>
                                  </p:stCondLst>
                                  <p:childTnLst>
                                    <p:animRot by="120000">
                                      <p:cBhvr>
                                        <p:cTn id="35" dur="100" fill="hold">
                                          <p:stCondLst>
                                            <p:cond delay="0"/>
                                          </p:stCondLst>
                                        </p:cTn>
                                        <p:tgtEl>
                                          <p:spTgt spid="77"/>
                                        </p:tgtEl>
                                        <p:attrNameLst>
                                          <p:attrName>r</p:attrName>
                                        </p:attrNameLst>
                                      </p:cBhvr>
                                    </p:animRot>
                                    <p:animRot by="-240000">
                                      <p:cBhvr>
                                        <p:cTn id="36" dur="200" fill="hold">
                                          <p:stCondLst>
                                            <p:cond delay="200"/>
                                          </p:stCondLst>
                                        </p:cTn>
                                        <p:tgtEl>
                                          <p:spTgt spid="77"/>
                                        </p:tgtEl>
                                        <p:attrNameLst>
                                          <p:attrName>r</p:attrName>
                                        </p:attrNameLst>
                                      </p:cBhvr>
                                    </p:animRot>
                                    <p:animRot by="240000">
                                      <p:cBhvr>
                                        <p:cTn id="37" dur="200" fill="hold">
                                          <p:stCondLst>
                                            <p:cond delay="400"/>
                                          </p:stCondLst>
                                        </p:cTn>
                                        <p:tgtEl>
                                          <p:spTgt spid="77"/>
                                        </p:tgtEl>
                                        <p:attrNameLst>
                                          <p:attrName>r</p:attrName>
                                        </p:attrNameLst>
                                      </p:cBhvr>
                                    </p:animRot>
                                    <p:animRot by="-240000">
                                      <p:cBhvr>
                                        <p:cTn id="38" dur="200" fill="hold">
                                          <p:stCondLst>
                                            <p:cond delay="600"/>
                                          </p:stCondLst>
                                        </p:cTn>
                                        <p:tgtEl>
                                          <p:spTgt spid="77"/>
                                        </p:tgtEl>
                                        <p:attrNameLst>
                                          <p:attrName>r</p:attrName>
                                        </p:attrNameLst>
                                      </p:cBhvr>
                                    </p:animRot>
                                    <p:animRot by="120000">
                                      <p:cBhvr>
                                        <p:cTn id="39" dur="200" fill="hold">
                                          <p:stCondLst>
                                            <p:cond delay="800"/>
                                          </p:stCondLst>
                                        </p:cTn>
                                        <p:tgtEl>
                                          <p:spTgt spid="7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a:extLst>
              <a:ext uri="{FF2B5EF4-FFF2-40B4-BE49-F238E27FC236}">
                <a16:creationId xmlns:a16="http://schemas.microsoft.com/office/drawing/2014/main" id="{193ECC08-3321-416A-B3E1-5AC75BBC3602}"/>
              </a:ext>
            </a:extLst>
          </p:cNvPr>
          <p:cNvGrpSpPr/>
          <p:nvPr/>
        </p:nvGrpSpPr>
        <p:grpSpPr>
          <a:xfrm>
            <a:off x="5001594" y="1860285"/>
            <a:ext cx="1228310" cy="3243360"/>
            <a:chOff x="8826089" y="2919386"/>
            <a:chExt cx="1228310" cy="3243360"/>
          </a:xfrm>
        </p:grpSpPr>
        <p:grpSp>
          <p:nvGrpSpPr>
            <p:cNvPr id="11" name="Group 10">
              <a:extLst>
                <a:ext uri="{FF2B5EF4-FFF2-40B4-BE49-F238E27FC236}">
                  <a16:creationId xmlns:a16="http://schemas.microsoft.com/office/drawing/2014/main" id="{EE438579-4A57-4C1E-B25D-84BEFA3FB6BB}"/>
                </a:ext>
              </a:extLst>
            </p:cNvPr>
            <p:cNvGrpSpPr/>
            <p:nvPr/>
          </p:nvGrpSpPr>
          <p:grpSpPr>
            <a:xfrm>
              <a:off x="9514649" y="5639307"/>
              <a:ext cx="523439" cy="523439"/>
              <a:chOff x="8611703" y="3477061"/>
              <a:chExt cx="642938" cy="642938"/>
            </a:xfrm>
          </p:grpSpPr>
          <p:pic>
            <p:nvPicPr>
              <p:cNvPr id="5" name="Graphic 4">
                <a:extLst>
                  <a:ext uri="{FF2B5EF4-FFF2-40B4-BE49-F238E27FC236}">
                    <a16:creationId xmlns:a16="http://schemas.microsoft.com/office/drawing/2014/main" id="{C8E92547-808A-4870-B087-2B65C8754D65}"/>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55147" t="7303" r="17721" b="70266"/>
              <a:stretch/>
            </p:blipFill>
            <p:spPr>
              <a:xfrm>
                <a:off x="8668855" y="3528309"/>
                <a:ext cx="532295" cy="543629"/>
              </a:xfrm>
              <a:prstGeom prst="rect">
                <a:avLst/>
              </a:prstGeom>
            </p:spPr>
          </p:pic>
          <p:sp>
            <p:nvSpPr>
              <p:cNvPr id="9" name="Rectangle 8">
                <a:extLst>
                  <a:ext uri="{FF2B5EF4-FFF2-40B4-BE49-F238E27FC236}">
                    <a16:creationId xmlns:a16="http://schemas.microsoft.com/office/drawing/2014/main" id="{6C478C7B-8D87-493D-B68F-3D2CFEEE1EB1}"/>
                  </a:ext>
                </a:extLst>
              </p:cNvPr>
              <p:cNvSpPr/>
              <p:nvPr/>
            </p:nvSpPr>
            <p:spPr>
              <a:xfrm>
                <a:off x="8611703" y="3477061"/>
                <a:ext cx="642938" cy="64293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33" name="Group 32">
              <a:extLst>
                <a:ext uri="{FF2B5EF4-FFF2-40B4-BE49-F238E27FC236}">
                  <a16:creationId xmlns:a16="http://schemas.microsoft.com/office/drawing/2014/main" id="{7526CE86-C1A5-46DA-A9C1-517EDB5AA1E2}"/>
                </a:ext>
              </a:extLst>
            </p:cNvPr>
            <p:cNvGrpSpPr/>
            <p:nvPr/>
          </p:nvGrpSpPr>
          <p:grpSpPr>
            <a:xfrm>
              <a:off x="9514648" y="4958122"/>
              <a:ext cx="523439" cy="523439"/>
              <a:chOff x="8611703" y="3477061"/>
              <a:chExt cx="642938" cy="642938"/>
            </a:xfrm>
          </p:grpSpPr>
          <p:pic>
            <p:nvPicPr>
              <p:cNvPr id="34" name="Graphic 33">
                <a:extLst>
                  <a:ext uri="{FF2B5EF4-FFF2-40B4-BE49-F238E27FC236}">
                    <a16:creationId xmlns:a16="http://schemas.microsoft.com/office/drawing/2014/main" id="{37FA7DB9-B6AC-47D9-93D9-E1FD47B07513}"/>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55147" t="7303" r="17721" b="70266"/>
              <a:stretch/>
            </p:blipFill>
            <p:spPr>
              <a:xfrm>
                <a:off x="8668855" y="3528309"/>
                <a:ext cx="532295" cy="543629"/>
              </a:xfrm>
              <a:prstGeom prst="rect">
                <a:avLst/>
              </a:prstGeom>
            </p:spPr>
          </p:pic>
          <p:sp>
            <p:nvSpPr>
              <p:cNvPr id="35" name="Rectangle 34">
                <a:extLst>
                  <a:ext uri="{FF2B5EF4-FFF2-40B4-BE49-F238E27FC236}">
                    <a16:creationId xmlns:a16="http://schemas.microsoft.com/office/drawing/2014/main" id="{C20A57A7-9D08-4FEE-9AA2-BAC038A87409}"/>
                  </a:ext>
                </a:extLst>
              </p:cNvPr>
              <p:cNvSpPr/>
              <p:nvPr/>
            </p:nvSpPr>
            <p:spPr>
              <a:xfrm>
                <a:off x="8611703" y="3477061"/>
                <a:ext cx="642938" cy="64293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36" name="Group 35">
              <a:extLst>
                <a:ext uri="{FF2B5EF4-FFF2-40B4-BE49-F238E27FC236}">
                  <a16:creationId xmlns:a16="http://schemas.microsoft.com/office/drawing/2014/main" id="{B43EB84E-3A58-49CA-935C-82257F1F3659}"/>
                </a:ext>
              </a:extLst>
            </p:cNvPr>
            <p:cNvGrpSpPr/>
            <p:nvPr/>
          </p:nvGrpSpPr>
          <p:grpSpPr>
            <a:xfrm>
              <a:off x="9514648" y="4277901"/>
              <a:ext cx="523439" cy="523439"/>
              <a:chOff x="8611703" y="3477061"/>
              <a:chExt cx="642938" cy="642938"/>
            </a:xfrm>
          </p:grpSpPr>
          <p:pic>
            <p:nvPicPr>
              <p:cNvPr id="37" name="Graphic 36">
                <a:extLst>
                  <a:ext uri="{FF2B5EF4-FFF2-40B4-BE49-F238E27FC236}">
                    <a16:creationId xmlns:a16="http://schemas.microsoft.com/office/drawing/2014/main" id="{43FF0E75-5E24-47B4-9317-1AA9510C0F86}"/>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55147" t="7303" r="17721" b="70266"/>
              <a:stretch/>
            </p:blipFill>
            <p:spPr>
              <a:xfrm>
                <a:off x="8668855" y="3528309"/>
                <a:ext cx="532295" cy="543629"/>
              </a:xfrm>
              <a:prstGeom prst="rect">
                <a:avLst/>
              </a:prstGeom>
            </p:spPr>
          </p:pic>
          <p:sp>
            <p:nvSpPr>
              <p:cNvPr id="38" name="Rectangle 37">
                <a:extLst>
                  <a:ext uri="{FF2B5EF4-FFF2-40B4-BE49-F238E27FC236}">
                    <a16:creationId xmlns:a16="http://schemas.microsoft.com/office/drawing/2014/main" id="{DB33A715-C47F-4509-9A06-3A45C979E484}"/>
                  </a:ext>
                </a:extLst>
              </p:cNvPr>
              <p:cNvSpPr/>
              <p:nvPr/>
            </p:nvSpPr>
            <p:spPr>
              <a:xfrm>
                <a:off x="8611703" y="3477061"/>
                <a:ext cx="642938" cy="64293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41" name="Group 40">
              <a:extLst>
                <a:ext uri="{FF2B5EF4-FFF2-40B4-BE49-F238E27FC236}">
                  <a16:creationId xmlns:a16="http://schemas.microsoft.com/office/drawing/2014/main" id="{38192305-FEFC-4F21-B4B5-030BF6A90D9E}"/>
                </a:ext>
              </a:extLst>
            </p:cNvPr>
            <p:cNvGrpSpPr/>
            <p:nvPr/>
          </p:nvGrpSpPr>
          <p:grpSpPr>
            <a:xfrm>
              <a:off x="9514648" y="3599608"/>
              <a:ext cx="523439" cy="523439"/>
              <a:chOff x="8611703" y="3477061"/>
              <a:chExt cx="642938" cy="642938"/>
            </a:xfrm>
          </p:grpSpPr>
          <p:pic>
            <p:nvPicPr>
              <p:cNvPr id="42" name="Graphic 41">
                <a:extLst>
                  <a:ext uri="{FF2B5EF4-FFF2-40B4-BE49-F238E27FC236}">
                    <a16:creationId xmlns:a16="http://schemas.microsoft.com/office/drawing/2014/main" id="{A3218D27-D267-4E4C-8C1A-AFFB57150879}"/>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55147" t="7303" r="17721" b="70266"/>
              <a:stretch/>
            </p:blipFill>
            <p:spPr>
              <a:xfrm>
                <a:off x="8668855" y="3528309"/>
                <a:ext cx="532295" cy="543629"/>
              </a:xfrm>
              <a:prstGeom prst="rect">
                <a:avLst/>
              </a:prstGeom>
            </p:spPr>
          </p:pic>
          <p:sp>
            <p:nvSpPr>
              <p:cNvPr id="43" name="Rectangle 42">
                <a:extLst>
                  <a:ext uri="{FF2B5EF4-FFF2-40B4-BE49-F238E27FC236}">
                    <a16:creationId xmlns:a16="http://schemas.microsoft.com/office/drawing/2014/main" id="{5EC53DEB-DFCB-4AE7-892C-1E0635875E49}"/>
                  </a:ext>
                </a:extLst>
              </p:cNvPr>
              <p:cNvSpPr/>
              <p:nvPr/>
            </p:nvSpPr>
            <p:spPr>
              <a:xfrm>
                <a:off x="8611703" y="3477061"/>
                <a:ext cx="642938" cy="64293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18" name="Group 17">
              <a:extLst>
                <a:ext uri="{FF2B5EF4-FFF2-40B4-BE49-F238E27FC236}">
                  <a16:creationId xmlns:a16="http://schemas.microsoft.com/office/drawing/2014/main" id="{76D47689-A880-4E32-B778-AB9DC565625D}"/>
                </a:ext>
              </a:extLst>
            </p:cNvPr>
            <p:cNvGrpSpPr/>
            <p:nvPr/>
          </p:nvGrpSpPr>
          <p:grpSpPr>
            <a:xfrm>
              <a:off x="9530960" y="2919387"/>
              <a:ext cx="523439" cy="523439"/>
              <a:chOff x="9298630" y="2707238"/>
              <a:chExt cx="523439" cy="523439"/>
            </a:xfrm>
          </p:grpSpPr>
          <p:pic>
            <p:nvPicPr>
              <p:cNvPr id="45" name="Graphic 44">
                <a:extLst>
                  <a:ext uri="{FF2B5EF4-FFF2-40B4-BE49-F238E27FC236}">
                    <a16:creationId xmlns:a16="http://schemas.microsoft.com/office/drawing/2014/main" id="{4433854B-0E24-4309-B03B-7099AC96E549}"/>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55147" t="7303" r="17721" b="70266"/>
              <a:stretch/>
            </p:blipFill>
            <p:spPr>
              <a:xfrm>
                <a:off x="9345160" y="2748961"/>
                <a:ext cx="433361" cy="442588"/>
              </a:xfrm>
              <a:prstGeom prst="rect">
                <a:avLst/>
              </a:prstGeom>
            </p:spPr>
          </p:pic>
          <p:sp>
            <p:nvSpPr>
              <p:cNvPr id="46" name="Rectangle 45">
                <a:extLst>
                  <a:ext uri="{FF2B5EF4-FFF2-40B4-BE49-F238E27FC236}">
                    <a16:creationId xmlns:a16="http://schemas.microsoft.com/office/drawing/2014/main" id="{B42F9A14-4897-445B-9E57-FDFD46D43E7A}"/>
                  </a:ext>
                </a:extLst>
              </p:cNvPr>
              <p:cNvSpPr/>
              <p:nvPr/>
            </p:nvSpPr>
            <p:spPr>
              <a:xfrm>
                <a:off x="9298630" y="2707238"/>
                <a:ext cx="523439" cy="52343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19" name="Group 18">
              <a:extLst>
                <a:ext uri="{FF2B5EF4-FFF2-40B4-BE49-F238E27FC236}">
                  <a16:creationId xmlns:a16="http://schemas.microsoft.com/office/drawing/2014/main" id="{635AFB2A-4FFA-4E73-9D69-07803A0DA76F}"/>
                </a:ext>
              </a:extLst>
            </p:cNvPr>
            <p:cNvGrpSpPr/>
            <p:nvPr/>
          </p:nvGrpSpPr>
          <p:grpSpPr>
            <a:xfrm>
              <a:off x="8826090" y="2919386"/>
              <a:ext cx="523439" cy="523439"/>
              <a:chOff x="8453722" y="2748961"/>
              <a:chExt cx="523439" cy="523439"/>
            </a:xfrm>
          </p:grpSpPr>
          <p:pic>
            <p:nvPicPr>
              <p:cNvPr id="14" name="Graphic 13">
                <a:extLst>
                  <a:ext uri="{FF2B5EF4-FFF2-40B4-BE49-F238E27FC236}">
                    <a16:creationId xmlns:a16="http://schemas.microsoft.com/office/drawing/2014/main" id="{4E7B40DD-4ADB-4F39-86B2-1390CD35CD08}"/>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3569" t="7198" r="15603" b="69353"/>
              <a:stretch/>
            </p:blipFill>
            <p:spPr>
              <a:xfrm>
                <a:off x="8479915" y="2788089"/>
                <a:ext cx="471054" cy="442588"/>
              </a:xfrm>
              <a:prstGeom prst="rect">
                <a:avLst/>
              </a:prstGeom>
            </p:spPr>
          </p:pic>
          <p:sp>
            <p:nvSpPr>
              <p:cNvPr id="48" name="Rectangle 47">
                <a:extLst>
                  <a:ext uri="{FF2B5EF4-FFF2-40B4-BE49-F238E27FC236}">
                    <a16:creationId xmlns:a16="http://schemas.microsoft.com/office/drawing/2014/main" id="{1A4E4A9D-69DD-41A7-849F-B41D06F5257E}"/>
                  </a:ext>
                </a:extLst>
              </p:cNvPr>
              <p:cNvSpPr/>
              <p:nvPr/>
            </p:nvSpPr>
            <p:spPr>
              <a:xfrm>
                <a:off x="8453722" y="2748961"/>
                <a:ext cx="523439" cy="52343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51" name="Group 50">
              <a:extLst>
                <a:ext uri="{FF2B5EF4-FFF2-40B4-BE49-F238E27FC236}">
                  <a16:creationId xmlns:a16="http://schemas.microsoft.com/office/drawing/2014/main" id="{4818841A-2FF8-4ABB-B6F2-1B28DE309243}"/>
                </a:ext>
              </a:extLst>
            </p:cNvPr>
            <p:cNvGrpSpPr/>
            <p:nvPr/>
          </p:nvGrpSpPr>
          <p:grpSpPr>
            <a:xfrm>
              <a:off x="8826089" y="3599608"/>
              <a:ext cx="523439" cy="523439"/>
              <a:chOff x="8453722" y="2748961"/>
              <a:chExt cx="523439" cy="523439"/>
            </a:xfrm>
          </p:grpSpPr>
          <p:pic>
            <p:nvPicPr>
              <p:cNvPr id="52" name="Graphic 51">
                <a:extLst>
                  <a:ext uri="{FF2B5EF4-FFF2-40B4-BE49-F238E27FC236}">
                    <a16:creationId xmlns:a16="http://schemas.microsoft.com/office/drawing/2014/main" id="{87BBE34B-1414-489E-8D56-2319AE64DA5D}"/>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3569" t="7198" r="15603" b="69353"/>
              <a:stretch/>
            </p:blipFill>
            <p:spPr>
              <a:xfrm>
                <a:off x="8479915" y="2788089"/>
                <a:ext cx="471054" cy="442588"/>
              </a:xfrm>
              <a:prstGeom prst="rect">
                <a:avLst/>
              </a:prstGeom>
            </p:spPr>
          </p:pic>
          <p:sp>
            <p:nvSpPr>
              <p:cNvPr id="53" name="Rectangle 52">
                <a:extLst>
                  <a:ext uri="{FF2B5EF4-FFF2-40B4-BE49-F238E27FC236}">
                    <a16:creationId xmlns:a16="http://schemas.microsoft.com/office/drawing/2014/main" id="{7545218C-E993-4F6E-B26B-0A0EEE696111}"/>
                  </a:ext>
                </a:extLst>
              </p:cNvPr>
              <p:cNvSpPr/>
              <p:nvPr/>
            </p:nvSpPr>
            <p:spPr>
              <a:xfrm>
                <a:off x="8453722" y="2748961"/>
                <a:ext cx="523439" cy="52343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54" name="Group 53">
              <a:extLst>
                <a:ext uri="{FF2B5EF4-FFF2-40B4-BE49-F238E27FC236}">
                  <a16:creationId xmlns:a16="http://schemas.microsoft.com/office/drawing/2014/main" id="{B30C82ED-F005-4545-956B-54E1FBA9D751}"/>
                </a:ext>
              </a:extLst>
            </p:cNvPr>
            <p:cNvGrpSpPr/>
            <p:nvPr/>
          </p:nvGrpSpPr>
          <p:grpSpPr>
            <a:xfrm>
              <a:off x="8826089" y="4277900"/>
              <a:ext cx="523439" cy="523439"/>
              <a:chOff x="8453722" y="2748961"/>
              <a:chExt cx="523439" cy="523439"/>
            </a:xfrm>
          </p:grpSpPr>
          <p:pic>
            <p:nvPicPr>
              <p:cNvPr id="55" name="Graphic 54">
                <a:extLst>
                  <a:ext uri="{FF2B5EF4-FFF2-40B4-BE49-F238E27FC236}">
                    <a16:creationId xmlns:a16="http://schemas.microsoft.com/office/drawing/2014/main" id="{2FAF200B-1866-4C40-94DA-91B6D44A37B5}"/>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3569" t="7198" r="15603" b="69353"/>
              <a:stretch/>
            </p:blipFill>
            <p:spPr>
              <a:xfrm>
                <a:off x="8479915" y="2788089"/>
                <a:ext cx="471054" cy="442588"/>
              </a:xfrm>
              <a:prstGeom prst="rect">
                <a:avLst/>
              </a:prstGeom>
            </p:spPr>
          </p:pic>
          <p:sp>
            <p:nvSpPr>
              <p:cNvPr id="56" name="Rectangle 55">
                <a:extLst>
                  <a:ext uri="{FF2B5EF4-FFF2-40B4-BE49-F238E27FC236}">
                    <a16:creationId xmlns:a16="http://schemas.microsoft.com/office/drawing/2014/main" id="{E91F13D8-7A64-46A1-953F-79E5F3D76214}"/>
                  </a:ext>
                </a:extLst>
              </p:cNvPr>
              <p:cNvSpPr/>
              <p:nvPr/>
            </p:nvSpPr>
            <p:spPr>
              <a:xfrm>
                <a:off x="8453722" y="2748961"/>
                <a:ext cx="523439" cy="52343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57" name="Group 56">
              <a:extLst>
                <a:ext uri="{FF2B5EF4-FFF2-40B4-BE49-F238E27FC236}">
                  <a16:creationId xmlns:a16="http://schemas.microsoft.com/office/drawing/2014/main" id="{1926F9F3-ADD9-4457-B761-1E78F5CC0A42}"/>
                </a:ext>
              </a:extLst>
            </p:cNvPr>
            <p:cNvGrpSpPr/>
            <p:nvPr/>
          </p:nvGrpSpPr>
          <p:grpSpPr>
            <a:xfrm>
              <a:off x="8827862" y="4958122"/>
              <a:ext cx="523439" cy="523439"/>
              <a:chOff x="8453722" y="2748961"/>
              <a:chExt cx="523439" cy="523439"/>
            </a:xfrm>
          </p:grpSpPr>
          <p:pic>
            <p:nvPicPr>
              <p:cNvPr id="58" name="Graphic 57">
                <a:extLst>
                  <a:ext uri="{FF2B5EF4-FFF2-40B4-BE49-F238E27FC236}">
                    <a16:creationId xmlns:a16="http://schemas.microsoft.com/office/drawing/2014/main" id="{889648EF-E4B3-436B-90E1-AD5100E998A0}"/>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3569" t="7198" r="15603" b="69353"/>
              <a:stretch/>
            </p:blipFill>
            <p:spPr>
              <a:xfrm>
                <a:off x="8479915" y="2788089"/>
                <a:ext cx="471054" cy="442588"/>
              </a:xfrm>
              <a:prstGeom prst="rect">
                <a:avLst/>
              </a:prstGeom>
            </p:spPr>
          </p:pic>
          <p:sp>
            <p:nvSpPr>
              <p:cNvPr id="59" name="Rectangle 58">
                <a:extLst>
                  <a:ext uri="{FF2B5EF4-FFF2-40B4-BE49-F238E27FC236}">
                    <a16:creationId xmlns:a16="http://schemas.microsoft.com/office/drawing/2014/main" id="{0228012E-1691-4789-8941-05BF8F46DB77}"/>
                  </a:ext>
                </a:extLst>
              </p:cNvPr>
              <p:cNvSpPr/>
              <p:nvPr/>
            </p:nvSpPr>
            <p:spPr>
              <a:xfrm>
                <a:off x="8453722" y="2748961"/>
                <a:ext cx="523439" cy="52343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60" name="Group 59">
              <a:extLst>
                <a:ext uri="{FF2B5EF4-FFF2-40B4-BE49-F238E27FC236}">
                  <a16:creationId xmlns:a16="http://schemas.microsoft.com/office/drawing/2014/main" id="{A3D202B6-3AB5-49C3-A438-5B41291FCA3E}"/>
                </a:ext>
              </a:extLst>
            </p:cNvPr>
            <p:cNvGrpSpPr/>
            <p:nvPr/>
          </p:nvGrpSpPr>
          <p:grpSpPr>
            <a:xfrm>
              <a:off x="8840376" y="5639306"/>
              <a:ext cx="523439" cy="523439"/>
              <a:chOff x="8453722" y="2748961"/>
              <a:chExt cx="523439" cy="523439"/>
            </a:xfrm>
          </p:grpSpPr>
          <p:pic>
            <p:nvPicPr>
              <p:cNvPr id="61" name="Graphic 60">
                <a:extLst>
                  <a:ext uri="{FF2B5EF4-FFF2-40B4-BE49-F238E27FC236}">
                    <a16:creationId xmlns:a16="http://schemas.microsoft.com/office/drawing/2014/main" id="{D543C543-488A-4901-A60E-8D4911975BF7}"/>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3569" t="7198" r="15603" b="69353"/>
              <a:stretch/>
            </p:blipFill>
            <p:spPr>
              <a:xfrm>
                <a:off x="8479915" y="2788089"/>
                <a:ext cx="471054" cy="442588"/>
              </a:xfrm>
              <a:prstGeom prst="rect">
                <a:avLst/>
              </a:prstGeom>
            </p:spPr>
          </p:pic>
          <p:sp>
            <p:nvSpPr>
              <p:cNvPr id="62" name="Rectangle 61">
                <a:extLst>
                  <a:ext uri="{FF2B5EF4-FFF2-40B4-BE49-F238E27FC236}">
                    <a16:creationId xmlns:a16="http://schemas.microsoft.com/office/drawing/2014/main" id="{0D27AE10-A3AC-4E85-9C14-E717D6F5B11E}"/>
                  </a:ext>
                </a:extLst>
              </p:cNvPr>
              <p:cNvSpPr/>
              <p:nvPr/>
            </p:nvSpPr>
            <p:spPr>
              <a:xfrm>
                <a:off x="8453722" y="2748961"/>
                <a:ext cx="523439" cy="52343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grpSp>
        <p:nvGrpSpPr>
          <p:cNvPr id="49" name="Group 48">
            <a:extLst>
              <a:ext uri="{FF2B5EF4-FFF2-40B4-BE49-F238E27FC236}">
                <a16:creationId xmlns:a16="http://schemas.microsoft.com/office/drawing/2014/main" id="{F9F93183-1F45-4FD5-9680-93D98A954AC8}"/>
              </a:ext>
            </a:extLst>
          </p:cNvPr>
          <p:cNvGrpSpPr/>
          <p:nvPr/>
        </p:nvGrpSpPr>
        <p:grpSpPr>
          <a:xfrm>
            <a:off x="-11774622" y="862049"/>
            <a:ext cx="21795436" cy="4564098"/>
            <a:chOff x="-11774622" y="862049"/>
            <a:chExt cx="21795436" cy="4564098"/>
          </a:xfrm>
        </p:grpSpPr>
        <p:grpSp>
          <p:nvGrpSpPr>
            <p:cNvPr id="32" name="Group 31">
              <a:extLst>
                <a:ext uri="{FF2B5EF4-FFF2-40B4-BE49-F238E27FC236}">
                  <a16:creationId xmlns:a16="http://schemas.microsoft.com/office/drawing/2014/main" id="{A7757FC1-1B60-4808-B4C4-C53AC76B26EE}"/>
                </a:ext>
              </a:extLst>
            </p:cNvPr>
            <p:cNvGrpSpPr/>
            <p:nvPr/>
          </p:nvGrpSpPr>
          <p:grpSpPr>
            <a:xfrm>
              <a:off x="-11774622" y="862049"/>
              <a:ext cx="21795436" cy="4564098"/>
              <a:chOff x="-11774622" y="862049"/>
              <a:chExt cx="21795436" cy="4564098"/>
            </a:xfrm>
          </p:grpSpPr>
          <p:grpSp>
            <p:nvGrpSpPr>
              <p:cNvPr id="28" name="Group 27">
                <a:extLst>
                  <a:ext uri="{FF2B5EF4-FFF2-40B4-BE49-F238E27FC236}">
                    <a16:creationId xmlns:a16="http://schemas.microsoft.com/office/drawing/2014/main" id="{1C98F7B8-32CA-4082-B0D4-F17EF2546E53}"/>
                  </a:ext>
                </a:extLst>
              </p:cNvPr>
              <p:cNvGrpSpPr/>
              <p:nvPr/>
            </p:nvGrpSpPr>
            <p:grpSpPr>
              <a:xfrm>
                <a:off x="3993324" y="1747143"/>
                <a:ext cx="3244850" cy="3679004"/>
                <a:chOff x="3993324" y="1747143"/>
                <a:chExt cx="3244850" cy="3679004"/>
              </a:xfrm>
            </p:grpSpPr>
            <p:sp>
              <p:nvSpPr>
                <p:cNvPr id="27" name="Rectangle 26">
                  <a:extLst>
                    <a:ext uri="{FF2B5EF4-FFF2-40B4-BE49-F238E27FC236}">
                      <a16:creationId xmlns:a16="http://schemas.microsoft.com/office/drawing/2014/main" id="{EFDB4590-D5EF-488E-A7A5-9B80DEF9FAE0}"/>
                    </a:ext>
                  </a:extLst>
                </p:cNvPr>
                <p:cNvSpPr/>
                <p:nvPr/>
              </p:nvSpPr>
              <p:spPr>
                <a:xfrm>
                  <a:off x="4333994" y="1747143"/>
                  <a:ext cx="2609635" cy="36790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nvGrpSpPr>
                <p:cNvPr id="77" name="Group 76">
                  <a:extLst>
                    <a:ext uri="{FF2B5EF4-FFF2-40B4-BE49-F238E27FC236}">
                      <a16:creationId xmlns:a16="http://schemas.microsoft.com/office/drawing/2014/main" id="{EE4FEAD1-C0EF-4BEA-AD03-20E6468A70DD}"/>
                    </a:ext>
                  </a:extLst>
                </p:cNvPr>
                <p:cNvGrpSpPr/>
                <p:nvPr/>
              </p:nvGrpSpPr>
              <p:grpSpPr>
                <a:xfrm>
                  <a:off x="3993324" y="1747143"/>
                  <a:ext cx="3244850" cy="3679003"/>
                  <a:chOff x="8420100" y="1971880"/>
                  <a:chExt cx="3244850" cy="3679003"/>
                </a:xfrm>
              </p:grpSpPr>
              <p:pic>
                <p:nvPicPr>
                  <p:cNvPr id="79" name="Graphic 78">
                    <a:extLst>
                      <a:ext uri="{FF2B5EF4-FFF2-40B4-BE49-F238E27FC236}">
                        <a16:creationId xmlns:a16="http://schemas.microsoft.com/office/drawing/2014/main" id="{99742056-6B46-486F-A074-EB7C7647F681}"/>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3431" b="19204"/>
                  <a:stretch/>
                </p:blipFill>
                <p:spPr>
                  <a:xfrm>
                    <a:off x="8420100" y="1998552"/>
                    <a:ext cx="3244850" cy="3416301"/>
                  </a:xfrm>
                  <a:prstGeom prst="rect">
                    <a:avLst/>
                  </a:prstGeom>
                </p:spPr>
              </p:pic>
              <p:sp>
                <p:nvSpPr>
                  <p:cNvPr id="80" name="Isosceles Triangle 79">
                    <a:extLst>
                      <a:ext uri="{FF2B5EF4-FFF2-40B4-BE49-F238E27FC236}">
                        <a16:creationId xmlns:a16="http://schemas.microsoft.com/office/drawing/2014/main" id="{19110930-CD44-4A80-BFEB-7B3B2958F264}"/>
                      </a:ext>
                    </a:extLst>
                  </p:cNvPr>
                  <p:cNvSpPr/>
                  <p:nvPr/>
                </p:nvSpPr>
                <p:spPr>
                  <a:xfrm rot="10800000">
                    <a:off x="8898480" y="1971880"/>
                    <a:ext cx="2418809" cy="127871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81" name="Trapezoid 80">
                    <a:extLst>
                      <a:ext uri="{FF2B5EF4-FFF2-40B4-BE49-F238E27FC236}">
                        <a16:creationId xmlns:a16="http://schemas.microsoft.com/office/drawing/2014/main" id="{BF5F738E-CEDD-4F1A-A7CD-10EA03D6F2B5}"/>
                      </a:ext>
                    </a:extLst>
                  </p:cNvPr>
                  <p:cNvSpPr/>
                  <p:nvPr/>
                </p:nvSpPr>
                <p:spPr>
                  <a:xfrm rot="10800000">
                    <a:off x="9022119" y="4953414"/>
                    <a:ext cx="2176334" cy="697469"/>
                  </a:xfrm>
                  <a:prstGeom prst="trapezoid">
                    <a:avLst>
                      <a:gd name="adj" fmla="val 523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dirty="0"/>
                  </a:p>
                </p:txBody>
              </p:sp>
            </p:grpSp>
          </p:grpSp>
          <p:grpSp>
            <p:nvGrpSpPr>
              <p:cNvPr id="8" name="Group 7">
                <a:extLst>
                  <a:ext uri="{FF2B5EF4-FFF2-40B4-BE49-F238E27FC236}">
                    <a16:creationId xmlns:a16="http://schemas.microsoft.com/office/drawing/2014/main" id="{5526DE6F-8A2F-472A-80C6-72DCAEE2789A}"/>
                  </a:ext>
                </a:extLst>
              </p:cNvPr>
              <p:cNvGrpSpPr/>
              <p:nvPr/>
            </p:nvGrpSpPr>
            <p:grpSpPr>
              <a:xfrm>
                <a:off x="-11774622" y="1817819"/>
                <a:ext cx="15794117" cy="3416300"/>
                <a:chOff x="1041748" y="1817819"/>
                <a:chExt cx="15794117" cy="3416300"/>
              </a:xfrm>
            </p:grpSpPr>
            <p:grpSp>
              <p:nvGrpSpPr>
                <p:cNvPr id="4" name="Group 3">
                  <a:extLst>
                    <a:ext uri="{FF2B5EF4-FFF2-40B4-BE49-F238E27FC236}">
                      <a16:creationId xmlns:a16="http://schemas.microsoft.com/office/drawing/2014/main" id="{2B652F51-FE31-415F-94C9-39B51C5F2AC7}"/>
                    </a:ext>
                  </a:extLst>
                </p:cNvPr>
                <p:cNvGrpSpPr/>
                <p:nvPr/>
              </p:nvGrpSpPr>
              <p:grpSpPr>
                <a:xfrm>
                  <a:off x="1041748" y="1817819"/>
                  <a:ext cx="13039376" cy="3416300"/>
                  <a:chOff x="1041748" y="1817819"/>
                  <a:chExt cx="13039376" cy="3416300"/>
                </a:xfrm>
              </p:grpSpPr>
              <p:grpSp>
                <p:nvGrpSpPr>
                  <p:cNvPr id="3" name="Group 2">
                    <a:extLst>
                      <a:ext uri="{FF2B5EF4-FFF2-40B4-BE49-F238E27FC236}">
                        <a16:creationId xmlns:a16="http://schemas.microsoft.com/office/drawing/2014/main" id="{652C27C8-ADDF-4127-A8CD-5C896AD418E3}"/>
                      </a:ext>
                    </a:extLst>
                  </p:cNvPr>
                  <p:cNvGrpSpPr/>
                  <p:nvPr/>
                </p:nvGrpSpPr>
                <p:grpSpPr>
                  <a:xfrm>
                    <a:off x="1041748" y="1817819"/>
                    <a:ext cx="12331352" cy="3416300"/>
                    <a:chOff x="1041748" y="1817819"/>
                    <a:chExt cx="12331352" cy="3416300"/>
                  </a:xfrm>
                </p:grpSpPr>
                <p:grpSp>
                  <p:nvGrpSpPr>
                    <p:cNvPr id="29" name="Group 28">
                      <a:extLst>
                        <a:ext uri="{FF2B5EF4-FFF2-40B4-BE49-F238E27FC236}">
                          <a16:creationId xmlns:a16="http://schemas.microsoft.com/office/drawing/2014/main" id="{C550CB7A-3405-4116-A7DF-0E12F5063F56}"/>
                        </a:ext>
                      </a:extLst>
                    </p:cNvPr>
                    <p:cNvGrpSpPr/>
                    <p:nvPr/>
                  </p:nvGrpSpPr>
                  <p:grpSpPr>
                    <a:xfrm>
                      <a:off x="4406900" y="1817819"/>
                      <a:ext cx="8966200" cy="3416300"/>
                      <a:chOff x="4406900" y="1817819"/>
                      <a:chExt cx="8966200" cy="3416300"/>
                    </a:xfrm>
                  </p:grpSpPr>
                  <p:sp>
                    <p:nvSpPr>
                      <p:cNvPr id="20" name="Rectangle: Rounded Corners 19">
                        <a:extLst>
                          <a:ext uri="{FF2B5EF4-FFF2-40B4-BE49-F238E27FC236}">
                            <a16:creationId xmlns:a16="http://schemas.microsoft.com/office/drawing/2014/main" id="{EE44E968-D891-4EB4-AB8B-8F134646A834}"/>
                          </a:ext>
                        </a:extLst>
                      </p:cNvPr>
                      <p:cNvSpPr/>
                      <p:nvPr/>
                    </p:nvSpPr>
                    <p:spPr>
                      <a:xfrm>
                        <a:off x="5114925" y="1817819"/>
                        <a:ext cx="8258175" cy="34163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7" name="Isosceles Triangle 16">
                        <a:extLst>
                          <a:ext uri="{FF2B5EF4-FFF2-40B4-BE49-F238E27FC236}">
                            <a16:creationId xmlns:a16="http://schemas.microsoft.com/office/drawing/2014/main" id="{459EAE34-4BD7-4BCE-AA87-0F55CE49D49E}"/>
                          </a:ext>
                        </a:extLst>
                      </p:cNvPr>
                      <p:cNvSpPr/>
                      <p:nvPr/>
                    </p:nvSpPr>
                    <p:spPr>
                      <a:xfrm rot="16200000">
                        <a:off x="4370729" y="3079135"/>
                        <a:ext cx="853392" cy="781049"/>
                      </a:xfrm>
                      <a:prstGeom prst="triangl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sp>
                  <p:nvSpPr>
                    <p:cNvPr id="39" name="TextBox 38">
                      <a:extLst>
                        <a:ext uri="{FF2B5EF4-FFF2-40B4-BE49-F238E27FC236}">
                          <a16:creationId xmlns:a16="http://schemas.microsoft.com/office/drawing/2014/main" id="{AFD07DFB-EF86-41C6-BD3F-22538BB395CF}"/>
                        </a:ext>
                      </a:extLst>
                    </p:cNvPr>
                    <p:cNvSpPr txBox="1"/>
                    <p:nvPr/>
                  </p:nvSpPr>
                  <p:spPr>
                    <a:xfrm>
                      <a:off x="5676901" y="2618496"/>
                      <a:ext cx="7175499" cy="769441"/>
                    </a:xfrm>
                    <a:prstGeom prst="rect">
                      <a:avLst/>
                    </a:prstGeom>
                    <a:noFill/>
                  </p:spPr>
                  <p:txBody>
                    <a:bodyPr wrap="square" rtlCol="0">
                      <a:spAutoFit/>
                    </a:bodyPr>
                    <a:lstStyle/>
                    <a:p>
                      <a:r>
                        <a:rPr lang="en-US" sz="4400" dirty="0">
                          <a:latin typeface="Quicksand Book" panose="02070303000000060000" pitchFamily="18" charset="0"/>
                        </a:rPr>
                        <a:t>Loratadine 1 dose/day </a:t>
                      </a:r>
                      <a:r>
                        <a:rPr lang="en-SG" sz="4400" b="1" i="0" dirty="0">
                          <a:solidFill>
                            <a:srgbClr val="202124"/>
                          </a:solidFill>
                          <a:effectLst/>
                          <a:latin typeface="arial" panose="020B0604020202020204" pitchFamily="34" charset="0"/>
                        </a:rPr>
                        <a:t>✓</a:t>
                      </a:r>
                      <a:endParaRPr lang="en-US" sz="4400" dirty="0">
                        <a:latin typeface="Quicksand Book" panose="02070303000000060000" pitchFamily="18" charset="0"/>
                      </a:endParaRPr>
                    </a:p>
                  </p:txBody>
                </p:sp>
                <p:sp>
                  <p:nvSpPr>
                    <p:cNvPr id="40" name="TextBox 39">
                      <a:extLst>
                        <a:ext uri="{FF2B5EF4-FFF2-40B4-BE49-F238E27FC236}">
                          <a16:creationId xmlns:a16="http://schemas.microsoft.com/office/drawing/2014/main" id="{9BCE3406-564C-4460-BA09-458CEEB4C4E6}"/>
                        </a:ext>
                      </a:extLst>
                    </p:cNvPr>
                    <p:cNvSpPr txBox="1"/>
                    <p:nvPr/>
                  </p:nvSpPr>
                  <p:spPr>
                    <a:xfrm>
                      <a:off x="5676901" y="3706703"/>
                      <a:ext cx="7175499" cy="769441"/>
                    </a:xfrm>
                    <a:prstGeom prst="rect">
                      <a:avLst/>
                    </a:prstGeom>
                    <a:noFill/>
                  </p:spPr>
                  <p:txBody>
                    <a:bodyPr wrap="square" rtlCol="0">
                      <a:spAutoFit/>
                    </a:bodyPr>
                    <a:lstStyle/>
                    <a:p>
                      <a:r>
                        <a:rPr lang="en-US" sz="4400" dirty="0">
                          <a:latin typeface="Quicksand Book" panose="02070303000000060000" pitchFamily="18" charset="0"/>
                        </a:rPr>
                        <a:t>Ibuprofen 3 doses/day </a:t>
                      </a:r>
                      <a:r>
                        <a:rPr lang="en-SG" sz="4400" b="1" i="0" dirty="0">
                          <a:solidFill>
                            <a:srgbClr val="202124"/>
                          </a:solidFill>
                          <a:effectLst/>
                          <a:latin typeface="arial" panose="020B0604020202020204" pitchFamily="34" charset="0"/>
                        </a:rPr>
                        <a:t>✓</a:t>
                      </a:r>
                      <a:endParaRPr lang="en-US" sz="4400" dirty="0">
                        <a:latin typeface="Quicksand Book" panose="02070303000000060000" pitchFamily="18" charset="0"/>
                      </a:endParaRPr>
                    </a:p>
                  </p:txBody>
                </p:sp>
                <p:grpSp>
                  <p:nvGrpSpPr>
                    <p:cNvPr id="31" name="Group 30">
                      <a:extLst>
                        <a:ext uri="{FF2B5EF4-FFF2-40B4-BE49-F238E27FC236}">
                          <a16:creationId xmlns:a16="http://schemas.microsoft.com/office/drawing/2014/main" id="{D74DB197-B385-4173-8303-5A281D9DE7DC}"/>
                        </a:ext>
                      </a:extLst>
                    </p:cNvPr>
                    <p:cNvGrpSpPr/>
                    <p:nvPr/>
                  </p:nvGrpSpPr>
                  <p:grpSpPr>
                    <a:xfrm>
                      <a:off x="1041748" y="2107030"/>
                      <a:ext cx="2975625" cy="3107138"/>
                      <a:chOff x="1041748" y="2107030"/>
                      <a:chExt cx="2975625" cy="3107138"/>
                    </a:xfrm>
                  </p:grpSpPr>
                  <p:grpSp>
                    <p:nvGrpSpPr>
                      <p:cNvPr id="21" name="Doctor" descr="{&quot;Key&quot;:&quot;POWER_USER_SHAPE_ICON&quot;,&quot;Value&quot;:&quot;POWER_USER_SHAPE_ICON_STYLE_1&quot;}">
                        <a:extLst>
                          <a:ext uri="{FF2B5EF4-FFF2-40B4-BE49-F238E27FC236}">
                            <a16:creationId xmlns:a16="http://schemas.microsoft.com/office/drawing/2014/main" id="{E53BE4F9-082C-40E1-985F-7580E9D3462D}"/>
                          </a:ext>
                        </a:extLst>
                      </p:cNvPr>
                      <p:cNvGrpSpPr>
                        <a:grpSpLocks/>
                      </p:cNvGrpSpPr>
                      <p:nvPr>
                        <p:custDataLst>
                          <p:tags r:id="rId1"/>
                        </p:custDataLst>
                      </p:nvPr>
                    </p:nvGrpSpPr>
                    <p:grpSpPr bwMode="auto">
                      <a:xfrm rot="20858588" flipH="1">
                        <a:off x="1460179" y="2107030"/>
                        <a:ext cx="2511425" cy="2595434"/>
                        <a:chOff x="4650" y="2644"/>
                        <a:chExt cx="1103" cy="1180"/>
                      </a:xfrm>
                      <a:solidFill>
                        <a:srgbClr val="F7C5A3"/>
                      </a:solidFill>
                    </p:grpSpPr>
                    <p:sp>
                      <p:nvSpPr>
                        <p:cNvPr id="22" name="Freeform 13">
                          <a:extLst>
                            <a:ext uri="{FF2B5EF4-FFF2-40B4-BE49-F238E27FC236}">
                              <a16:creationId xmlns:a16="http://schemas.microsoft.com/office/drawing/2014/main" id="{8AFAA26C-720E-46DE-8EC8-D7BCA3C8271F}"/>
                            </a:ext>
                          </a:extLst>
                        </p:cNvPr>
                        <p:cNvSpPr>
                          <a:spLocks/>
                        </p:cNvSpPr>
                        <p:nvPr/>
                      </p:nvSpPr>
                      <p:spPr bwMode="auto">
                        <a:xfrm>
                          <a:off x="4650" y="3029"/>
                          <a:ext cx="1103" cy="795"/>
                        </a:xfrm>
                        <a:custGeom>
                          <a:avLst/>
                          <a:gdLst>
                            <a:gd name="T0" fmla="*/ 762 w 930"/>
                            <a:gd name="T1" fmla="*/ 0 h 670"/>
                            <a:gd name="T2" fmla="*/ 930 w 930"/>
                            <a:gd name="T3" fmla="*/ 158 h 670"/>
                            <a:gd name="T4" fmla="*/ 930 w 930"/>
                            <a:gd name="T5" fmla="*/ 607 h 670"/>
                            <a:gd name="T6" fmla="*/ 927 w 930"/>
                            <a:gd name="T7" fmla="*/ 670 h 670"/>
                            <a:gd name="T8" fmla="*/ 447 w 930"/>
                            <a:gd name="T9" fmla="*/ 670 h 670"/>
                            <a:gd name="T10" fmla="*/ 447 w 930"/>
                            <a:gd name="T11" fmla="*/ 234 h 670"/>
                            <a:gd name="T12" fmla="*/ 428 w 930"/>
                            <a:gd name="T13" fmla="*/ 234 h 670"/>
                            <a:gd name="T14" fmla="*/ 339 w 930"/>
                            <a:gd name="T15" fmla="*/ 367 h 670"/>
                            <a:gd name="T16" fmla="*/ 271 w 930"/>
                            <a:gd name="T17" fmla="*/ 396 h 670"/>
                            <a:gd name="T18" fmla="*/ 62 w 930"/>
                            <a:gd name="T19" fmla="*/ 396 h 670"/>
                            <a:gd name="T20" fmla="*/ 0 w 930"/>
                            <a:gd name="T21" fmla="*/ 333 h 670"/>
                            <a:gd name="T22" fmla="*/ 62 w 930"/>
                            <a:gd name="T23" fmla="*/ 271 h 670"/>
                            <a:gd name="T24" fmla="*/ 253 w 930"/>
                            <a:gd name="T25" fmla="*/ 271 h 670"/>
                            <a:gd name="T26" fmla="*/ 384 w 930"/>
                            <a:gd name="T27" fmla="*/ 72 h 670"/>
                            <a:gd name="T28" fmla="*/ 527 w 930"/>
                            <a:gd name="T29" fmla="*/ 1 h 670"/>
                            <a:gd name="T30" fmla="*/ 626 w 930"/>
                            <a:gd name="T31" fmla="*/ 200 h 670"/>
                            <a:gd name="T32" fmla="*/ 626 w 930"/>
                            <a:gd name="T33" fmla="*/ 433 h 670"/>
                            <a:gd name="T34" fmla="*/ 595 w 930"/>
                            <a:gd name="T35" fmla="*/ 479 h 670"/>
                            <a:gd name="T36" fmla="*/ 645 w 930"/>
                            <a:gd name="T37" fmla="*/ 529 h 670"/>
                            <a:gd name="T38" fmla="*/ 695 w 930"/>
                            <a:gd name="T39" fmla="*/ 479 h 670"/>
                            <a:gd name="T40" fmla="*/ 664 w 930"/>
                            <a:gd name="T41" fmla="*/ 433 h 670"/>
                            <a:gd name="T42" fmla="*/ 664 w 930"/>
                            <a:gd name="T43" fmla="*/ 200 h 670"/>
                            <a:gd name="T44" fmla="*/ 762 w 930"/>
                            <a:gd name="T45" fmla="*/ 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0" h="670">
                              <a:moveTo>
                                <a:pt x="762" y="0"/>
                              </a:moveTo>
                              <a:cubicBezTo>
                                <a:pt x="867" y="0"/>
                                <a:pt x="930" y="63"/>
                                <a:pt x="930" y="158"/>
                              </a:cubicBezTo>
                              <a:lnTo>
                                <a:pt x="930" y="607"/>
                              </a:lnTo>
                              <a:cubicBezTo>
                                <a:pt x="930" y="642"/>
                                <a:pt x="927" y="670"/>
                                <a:pt x="927" y="670"/>
                              </a:cubicBezTo>
                              <a:lnTo>
                                <a:pt x="447" y="670"/>
                              </a:lnTo>
                              <a:lnTo>
                                <a:pt x="447" y="234"/>
                              </a:lnTo>
                              <a:lnTo>
                                <a:pt x="428" y="234"/>
                              </a:lnTo>
                              <a:lnTo>
                                <a:pt x="339" y="367"/>
                              </a:lnTo>
                              <a:cubicBezTo>
                                <a:pt x="324" y="386"/>
                                <a:pt x="295" y="396"/>
                                <a:pt x="271" y="396"/>
                              </a:cubicBezTo>
                              <a:lnTo>
                                <a:pt x="62" y="396"/>
                              </a:lnTo>
                              <a:cubicBezTo>
                                <a:pt x="28" y="396"/>
                                <a:pt x="0" y="368"/>
                                <a:pt x="0" y="333"/>
                              </a:cubicBezTo>
                              <a:cubicBezTo>
                                <a:pt x="0" y="299"/>
                                <a:pt x="28" y="271"/>
                                <a:pt x="62" y="271"/>
                              </a:cubicBezTo>
                              <a:lnTo>
                                <a:pt x="253" y="271"/>
                              </a:lnTo>
                              <a:lnTo>
                                <a:pt x="384" y="72"/>
                              </a:lnTo>
                              <a:cubicBezTo>
                                <a:pt x="416" y="24"/>
                                <a:pt x="475" y="1"/>
                                <a:pt x="527" y="1"/>
                              </a:cubicBezTo>
                              <a:cubicBezTo>
                                <a:pt x="527" y="141"/>
                                <a:pt x="562" y="200"/>
                                <a:pt x="626" y="200"/>
                              </a:cubicBezTo>
                              <a:lnTo>
                                <a:pt x="626" y="433"/>
                              </a:lnTo>
                              <a:cubicBezTo>
                                <a:pt x="608" y="441"/>
                                <a:pt x="595" y="459"/>
                                <a:pt x="595" y="479"/>
                              </a:cubicBezTo>
                              <a:cubicBezTo>
                                <a:pt x="595" y="507"/>
                                <a:pt x="617" y="529"/>
                                <a:pt x="645" y="529"/>
                              </a:cubicBezTo>
                              <a:cubicBezTo>
                                <a:pt x="673" y="529"/>
                                <a:pt x="695" y="506"/>
                                <a:pt x="695" y="479"/>
                              </a:cubicBezTo>
                              <a:cubicBezTo>
                                <a:pt x="695" y="458"/>
                                <a:pt x="682" y="440"/>
                                <a:pt x="664" y="433"/>
                              </a:cubicBezTo>
                              <a:lnTo>
                                <a:pt x="664" y="200"/>
                              </a:lnTo>
                              <a:cubicBezTo>
                                <a:pt x="727" y="200"/>
                                <a:pt x="762" y="140"/>
                                <a:pt x="762" y="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14">
                          <a:extLst>
                            <a:ext uri="{FF2B5EF4-FFF2-40B4-BE49-F238E27FC236}">
                              <a16:creationId xmlns:a16="http://schemas.microsoft.com/office/drawing/2014/main" id="{F6CC81A7-6819-49C3-B631-A8CB037681AB}"/>
                            </a:ext>
                          </a:extLst>
                        </p:cNvPr>
                        <p:cNvSpPr>
                          <a:spLocks/>
                        </p:cNvSpPr>
                        <p:nvPr/>
                      </p:nvSpPr>
                      <p:spPr bwMode="auto">
                        <a:xfrm>
                          <a:off x="5323" y="3029"/>
                          <a:ext cx="185" cy="193"/>
                        </a:xfrm>
                        <a:custGeom>
                          <a:avLst/>
                          <a:gdLst>
                            <a:gd name="T0" fmla="*/ 156 w 156"/>
                            <a:gd name="T1" fmla="*/ 0 h 163"/>
                            <a:gd name="T2" fmla="*/ 78 w 156"/>
                            <a:gd name="T3" fmla="*/ 163 h 163"/>
                            <a:gd name="T4" fmla="*/ 0 w 156"/>
                            <a:gd name="T5" fmla="*/ 0 h 163"/>
                            <a:gd name="T6" fmla="*/ 156 w 156"/>
                            <a:gd name="T7" fmla="*/ 0 h 163"/>
                          </a:gdLst>
                          <a:ahLst/>
                          <a:cxnLst>
                            <a:cxn ang="0">
                              <a:pos x="T0" y="T1"/>
                            </a:cxn>
                            <a:cxn ang="0">
                              <a:pos x="T2" y="T3"/>
                            </a:cxn>
                            <a:cxn ang="0">
                              <a:pos x="T4" y="T5"/>
                            </a:cxn>
                            <a:cxn ang="0">
                              <a:pos x="T6" y="T7"/>
                            </a:cxn>
                          </a:cxnLst>
                          <a:rect l="0" t="0" r="r" b="b"/>
                          <a:pathLst>
                            <a:path w="156" h="163">
                              <a:moveTo>
                                <a:pt x="156" y="0"/>
                              </a:moveTo>
                              <a:cubicBezTo>
                                <a:pt x="155" y="144"/>
                                <a:pt x="130" y="163"/>
                                <a:pt x="78" y="163"/>
                              </a:cubicBezTo>
                              <a:cubicBezTo>
                                <a:pt x="26" y="163"/>
                                <a:pt x="1" y="144"/>
                                <a:pt x="0" y="0"/>
                              </a:cubicBezTo>
                              <a:lnTo>
                                <a:pt x="1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Oval 15">
                          <a:extLst>
                            <a:ext uri="{FF2B5EF4-FFF2-40B4-BE49-F238E27FC236}">
                              <a16:creationId xmlns:a16="http://schemas.microsoft.com/office/drawing/2014/main" id="{1C52158E-58B1-47C4-BB0B-9EA169BE8ABB}"/>
                            </a:ext>
                          </a:extLst>
                        </p:cNvPr>
                        <p:cNvSpPr>
                          <a:spLocks noChangeArrowheads="1"/>
                        </p:cNvSpPr>
                        <p:nvPr/>
                      </p:nvSpPr>
                      <p:spPr bwMode="auto">
                        <a:xfrm>
                          <a:off x="5244" y="2644"/>
                          <a:ext cx="340" cy="341"/>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0" name="TextBox 29">
                        <a:extLst>
                          <a:ext uri="{FF2B5EF4-FFF2-40B4-BE49-F238E27FC236}">
                            <a16:creationId xmlns:a16="http://schemas.microsoft.com/office/drawing/2014/main" id="{934EB929-586F-4C3C-81AC-7E95FCFFDCB4}"/>
                          </a:ext>
                        </a:extLst>
                      </p:cNvPr>
                      <p:cNvSpPr txBox="1"/>
                      <p:nvPr/>
                    </p:nvSpPr>
                    <p:spPr>
                      <a:xfrm rot="20905923">
                        <a:off x="1041748" y="4752503"/>
                        <a:ext cx="2975625" cy="461665"/>
                      </a:xfrm>
                      <a:prstGeom prst="rect">
                        <a:avLst/>
                      </a:prstGeom>
                      <a:noFill/>
                    </p:spPr>
                    <p:txBody>
                      <a:bodyPr wrap="square" rtlCol="0">
                        <a:spAutoFit/>
                      </a:bodyPr>
                      <a:lstStyle/>
                      <a:p>
                        <a:pPr algn="ctr"/>
                        <a:r>
                          <a:rPr lang="en-US" sz="2400" dirty="0">
                            <a:solidFill>
                              <a:srgbClr val="F7C5A3"/>
                            </a:solidFill>
                            <a:latin typeface="Quicksand Bold" pitchFamily="50" charset="0"/>
                          </a:rPr>
                          <a:t>Doctor</a:t>
                        </a:r>
                        <a:endParaRPr lang="en-SG" sz="2400" dirty="0">
                          <a:solidFill>
                            <a:srgbClr val="F7C5A3"/>
                          </a:solidFill>
                          <a:latin typeface="Quicksand Bold" pitchFamily="50" charset="0"/>
                        </a:endParaRPr>
                      </a:p>
                    </p:txBody>
                  </p:sp>
                </p:grpSp>
              </p:grpSp>
              <p:sp>
                <p:nvSpPr>
                  <p:cNvPr id="16" name="Isosceles Triangle 15">
                    <a:extLst>
                      <a:ext uri="{FF2B5EF4-FFF2-40B4-BE49-F238E27FC236}">
                        <a16:creationId xmlns:a16="http://schemas.microsoft.com/office/drawing/2014/main" id="{0B603853-51B0-4331-BB02-1CAB5B124CD7}"/>
                      </a:ext>
                    </a:extLst>
                  </p:cNvPr>
                  <p:cNvSpPr/>
                  <p:nvPr/>
                </p:nvSpPr>
                <p:spPr>
                  <a:xfrm rot="5400000">
                    <a:off x="13263904" y="3092302"/>
                    <a:ext cx="853392" cy="781049"/>
                  </a:xfrm>
                  <a:prstGeom prst="triangl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7" name="Group 6">
                  <a:extLst>
                    <a:ext uri="{FF2B5EF4-FFF2-40B4-BE49-F238E27FC236}">
                      <a16:creationId xmlns:a16="http://schemas.microsoft.com/office/drawing/2014/main" id="{E7A7F413-5296-44CE-BC23-4AE7A559CB99}"/>
                    </a:ext>
                  </a:extLst>
                </p:cNvPr>
                <p:cNvGrpSpPr/>
                <p:nvPr/>
              </p:nvGrpSpPr>
              <p:grpSpPr>
                <a:xfrm>
                  <a:off x="13820775" y="2118539"/>
                  <a:ext cx="3015090" cy="3032424"/>
                  <a:chOff x="13589272" y="2273191"/>
                  <a:chExt cx="3015090" cy="3032424"/>
                </a:xfrm>
              </p:grpSpPr>
              <p:pic>
                <p:nvPicPr>
                  <p:cNvPr id="6" name="Graphic 5">
                    <a:extLst>
                      <a:ext uri="{FF2B5EF4-FFF2-40B4-BE49-F238E27FC236}">
                        <a16:creationId xmlns:a16="http://schemas.microsoft.com/office/drawing/2014/main" id="{D0823134-F736-4454-92FF-77F161A66CED}"/>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15620"/>
                  <a:stretch/>
                </p:blipFill>
                <p:spPr>
                  <a:xfrm rot="506067">
                    <a:off x="13886165" y="2273191"/>
                    <a:ext cx="2718197" cy="2867025"/>
                  </a:xfrm>
                  <a:prstGeom prst="rect">
                    <a:avLst/>
                  </a:prstGeom>
                </p:spPr>
              </p:pic>
              <p:sp>
                <p:nvSpPr>
                  <p:cNvPr id="25" name="TextBox 24">
                    <a:extLst>
                      <a:ext uri="{FF2B5EF4-FFF2-40B4-BE49-F238E27FC236}">
                        <a16:creationId xmlns:a16="http://schemas.microsoft.com/office/drawing/2014/main" id="{18FCAF50-3971-484D-BA5C-A7202204424C}"/>
                      </a:ext>
                    </a:extLst>
                  </p:cNvPr>
                  <p:cNvSpPr txBox="1"/>
                  <p:nvPr/>
                </p:nvSpPr>
                <p:spPr>
                  <a:xfrm rot="473799">
                    <a:off x="13589272" y="4843950"/>
                    <a:ext cx="2975625" cy="461665"/>
                  </a:xfrm>
                  <a:prstGeom prst="rect">
                    <a:avLst/>
                  </a:prstGeom>
                  <a:noFill/>
                </p:spPr>
                <p:txBody>
                  <a:bodyPr wrap="square" rtlCol="0">
                    <a:spAutoFit/>
                  </a:bodyPr>
                  <a:lstStyle/>
                  <a:p>
                    <a:pPr algn="ctr"/>
                    <a:r>
                      <a:rPr lang="en-US" sz="2400" dirty="0">
                        <a:solidFill>
                          <a:srgbClr val="F7C5A3"/>
                        </a:solidFill>
                        <a:latin typeface="Quicksand Bold" pitchFamily="50" charset="0"/>
                      </a:rPr>
                      <a:t>Pharmacist</a:t>
                    </a:r>
                    <a:endParaRPr lang="en-SG" sz="2400" dirty="0">
                      <a:solidFill>
                        <a:srgbClr val="F7C5A3"/>
                      </a:solidFill>
                      <a:latin typeface="Quicksand Bold" pitchFamily="50" charset="0"/>
                    </a:endParaRPr>
                  </a:p>
                </p:txBody>
              </p:sp>
            </p:grpSp>
          </p:grpSp>
          <p:sp>
            <p:nvSpPr>
              <p:cNvPr id="78" name="TextBox 77">
                <a:extLst>
                  <a:ext uri="{FF2B5EF4-FFF2-40B4-BE49-F238E27FC236}">
                    <a16:creationId xmlns:a16="http://schemas.microsoft.com/office/drawing/2014/main" id="{E4E8040B-0BB4-44B8-86F8-73B45667B7C4}"/>
                  </a:ext>
                </a:extLst>
              </p:cNvPr>
              <p:cNvSpPr txBox="1"/>
              <p:nvPr/>
            </p:nvSpPr>
            <p:spPr>
              <a:xfrm rot="21264721">
                <a:off x="6569440" y="862049"/>
                <a:ext cx="3451374" cy="523220"/>
              </a:xfrm>
              <a:prstGeom prst="rect">
                <a:avLst/>
              </a:prstGeom>
              <a:noFill/>
            </p:spPr>
            <p:txBody>
              <a:bodyPr wrap="square" rtlCol="0">
                <a:spAutoFit/>
              </a:bodyPr>
              <a:lstStyle/>
              <a:p>
                <a:pPr algn="ctr"/>
                <a:r>
                  <a:rPr lang="en-US" sz="2800" dirty="0">
                    <a:solidFill>
                      <a:schemeClr val="bg1"/>
                    </a:solidFill>
                    <a:latin typeface="Quicksand Bold" pitchFamily="50" charset="0"/>
                  </a:rPr>
                  <a:t>PHOBO</a:t>
                </a:r>
                <a:endParaRPr lang="en-SG" sz="2800" dirty="0">
                  <a:solidFill>
                    <a:schemeClr val="bg1"/>
                  </a:solidFill>
                  <a:latin typeface="Quicksand Bold" pitchFamily="50" charset="0"/>
                </a:endParaRPr>
              </a:p>
            </p:txBody>
          </p:sp>
        </p:grpSp>
        <p:pic>
          <p:nvPicPr>
            <p:cNvPr id="83" name="Graphic 82">
              <a:extLst>
                <a:ext uri="{FF2B5EF4-FFF2-40B4-BE49-F238E27FC236}">
                  <a16:creationId xmlns:a16="http://schemas.microsoft.com/office/drawing/2014/main" id="{81F138D8-AA6E-403F-8DA0-A9460CDDFDA2}"/>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2472" t="13101" r="28" b="36217"/>
            <a:stretch/>
          </p:blipFill>
          <p:spPr>
            <a:xfrm flipH="1">
              <a:off x="6656237" y="998054"/>
              <a:ext cx="1071562" cy="603425"/>
            </a:xfrm>
            <a:prstGeom prst="rect">
              <a:avLst/>
            </a:prstGeom>
          </p:spPr>
        </p:pic>
      </p:grpSp>
    </p:spTree>
    <p:extLst>
      <p:ext uri="{BB962C8B-B14F-4D97-AF65-F5344CB8AC3E}">
        <p14:creationId xmlns:p14="http://schemas.microsoft.com/office/powerpoint/2010/main" val="26562973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1" accel="60000" fill="hold" nodeType="withEffect">
                                  <p:stCondLst>
                                    <p:cond delay="0"/>
                                  </p:stCondLst>
                                  <p:childTnLst>
                                    <p:anim calcmode="lin" valueType="num">
                                      <p:cBhvr additive="base">
                                        <p:cTn id="6" dur="500"/>
                                        <p:tgtEl>
                                          <p:spTgt spid="49"/>
                                        </p:tgtEl>
                                        <p:attrNameLst>
                                          <p:attrName>ppt_x</p:attrName>
                                        </p:attrNameLst>
                                      </p:cBhvr>
                                      <p:tavLst>
                                        <p:tav tm="0">
                                          <p:val>
                                            <p:strVal val="ppt_x"/>
                                          </p:val>
                                        </p:tav>
                                        <p:tav tm="100000">
                                          <p:val>
                                            <p:strVal val="ppt_x"/>
                                          </p:val>
                                        </p:tav>
                                      </p:tavLst>
                                    </p:anim>
                                    <p:anim calcmode="lin" valueType="num">
                                      <p:cBhvr additive="base">
                                        <p:cTn id="7" dur="500"/>
                                        <p:tgtEl>
                                          <p:spTgt spid="49"/>
                                        </p:tgtEl>
                                        <p:attrNameLst>
                                          <p:attrName>ppt_y</p:attrName>
                                        </p:attrNameLst>
                                      </p:cBhvr>
                                      <p:tavLst>
                                        <p:tav tm="0">
                                          <p:val>
                                            <p:strVal val="ppt_y"/>
                                          </p:val>
                                        </p:tav>
                                        <p:tav tm="100000">
                                          <p:val>
                                            <p:strVal val="0-ppt_h/2"/>
                                          </p:val>
                                        </p:tav>
                                      </p:tavLst>
                                    </p:anim>
                                    <p:set>
                                      <p:cBhvr>
                                        <p:cTn id="8" dur="1" fill="hold">
                                          <p:stCondLst>
                                            <p:cond delay="499"/>
                                          </p:stCondLst>
                                        </p:cTn>
                                        <p:tgtEl>
                                          <p:spTgt spid="4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Graphic 63">
            <a:extLst>
              <a:ext uri="{FF2B5EF4-FFF2-40B4-BE49-F238E27FC236}">
                <a16:creationId xmlns:a16="http://schemas.microsoft.com/office/drawing/2014/main" id="{813E64B3-3416-4BF1-AD2C-CAF5C6702DD7}"/>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509" b="23542"/>
          <a:stretch/>
        </p:blipFill>
        <p:spPr>
          <a:xfrm>
            <a:off x="4508531" y="3765479"/>
            <a:ext cx="2220368" cy="2111324"/>
          </a:xfrm>
          <a:prstGeom prst="rect">
            <a:avLst/>
          </a:prstGeom>
        </p:spPr>
      </p:pic>
      <p:grpSp>
        <p:nvGrpSpPr>
          <p:cNvPr id="11" name="Group 10">
            <a:extLst>
              <a:ext uri="{FF2B5EF4-FFF2-40B4-BE49-F238E27FC236}">
                <a16:creationId xmlns:a16="http://schemas.microsoft.com/office/drawing/2014/main" id="{EE438579-4A57-4C1E-B25D-84BEFA3FB6BB}"/>
              </a:ext>
            </a:extLst>
          </p:cNvPr>
          <p:cNvGrpSpPr/>
          <p:nvPr/>
        </p:nvGrpSpPr>
        <p:grpSpPr>
          <a:xfrm>
            <a:off x="5690154" y="4580206"/>
            <a:ext cx="523439" cy="523439"/>
            <a:chOff x="8611703" y="3477061"/>
            <a:chExt cx="642938" cy="642938"/>
          </a:xfrm>
        </p:grpSpPr>
        <p:pic>
          <p:nvPicPr>
            <p:cNvPr id="5" name="Graphic 4">
              <a:extLst>
                <a:ext uri="{FF2B5EF4-FFF2-40B4-BE49-F238E27FC236}">
                  <a16:creationId xmlns:a16="http://schemas.microsoft.com/office/drawing/2014/main" id="{C8E92547-808A-4870-B087-2B65C8754D65}"/>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8668855" y="3528309"/>
              <a:ext cx="532295" cy="543629"/>
            </a:xfrm>
            <a:prstGeom prst="rect">
              <a:avLst/>
            </a:prstGeom>
          </p:spPr>
        </p:pic>
        <p:sp>
          <p:nvSpPr>
            <p:cNvPr id="9" name="Rectangle 8">
              <a:extLst>
                <a:ext uri="{FF2B5EF4-FFF2-40B4-BE49-F238E27FC236}">
                  <a16:creationId xmlns:a16="http://schemas.microsoft.com/office/drawing/2014/main" id="{6C478C7B-8D87-493D-B68F-3D2CFEEE1EB1}"/>
                </a:ext>
              </a:extLst>
            </p:cNvPr>
            <p:cNvSpPr/>
            <p:nvPr/>
          </p:nvSpPr>
          <p:spPr>
            <a:xfrm>
              <a:off x="8611703" y="3477061"/>
              <a:ext cx="642938" cy="64293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33" name="Group 32">
            <a:extLst>
              <a:ext uri="{FF2B5EF4-FFF2-40B4-BE49-F238E27FC236}">
                <a16:creationId xmlns:a16="http://schemas.microsoft.com/office/drawing/2014/main" id="{7526CE86-C1A5-46DA-A9C1-517EDB5AA1E2}"/>
              </a:ext>
            </a:extLst>
          </p:cNvPr>
          <p:cNvGrpSpPr/>
          <p:nvPr/>
        </p:nvGrpSpPr>
        <p:grpSpPr>
          <a:xfrm>
            <a:off x="5690153" y="3899021"/>
            <a:ext cx="523439" cy="523439"/>
            <a:chOff x="8611703" y="3477061"/>
            <a:chExt cx="642938" cy="642938"/>
          </a:xfrm>
        </p:grpSpPr>
        <p:pic>
          <p:nvPicPr>
            <p:cNvPr id="34" name="Graphic 33">
              <a:extLst>
                <a:ext uri="{FF2B5EF4-FFF2-40B4-BE49-F238E27FC236}">
                  <a16:creationId xmlns:a16="http://schemas.microsoft.com/office/drawing/2014/main" id="{37FA7DB9-B6AC-47D9-93D9-E1FD47B07513}"/>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8668855" y="3528309"/>
              <a:ext cx="532295" cy="543629"/>
            </a:xfrm>
            <a:prstGeom prst="rect">
              <a:avLst/>
            </a:prstGeom>
          </p:spPr>
        </p:pic>
        <p:sp>
          <p:nvSpPr>
            <p:cNvPr id="35" name="Rectangle 34">
              <a:extLst>
                <a:ext uri="{FF2B5EF4-FFF2-40B4-BE49-F238E27FC236}">
                  <a16:creationId xmlns:a16="http://schemas.microsoft.com/office/drawing/2014/main" id="{C20A57A7-9D08-4FEE-9AA2-BAC038A87409}"/>
                </a:ext>
              </a:extLst>
            </p:cNvPr>
            <p:cNvSpPr/>
            <p:nvPr/>
          </p:nvSpPr>
          <p:spPr>
            <a:xfrm>
              <a:off x="8611703" y="3477061"/>
              <a:ext cx="642938" cy="64293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36" name="Group 35">
            <a:extLst>
              <a:ext uri="{FF2B5EF4-FFF2-40B4-BE49-F238E27FC236}">
                <a16:creationId xmlns:a16="http://schemas.microsoft.com/office/drawing/2014/main" id="{B43EB84E-3A58-49CA-935C-82257F1F3659}"/>
              </a:ext>
            </a:extLst>
          </p:cNvPr>
          <p:cNvGrpSpPr/>
          <p:nvPr/>
        </p:nvGrpSpPr>
        <p:grpSpPr>
          <a:xfrm>
            <a:off x="5690153" y="3218800"/>
            <a:ext cx="523439" cy="523439"/>
            <a:chOff x="8611703" y="3477061"/>
            <a:chExt cx="642938" cy="642938"/>
          </a:xfrm>
        </p:grpSpPr>
        <p:pic>
          <p:nvPicPr>
            <p:cNvPr id="37" name="Graphic 36">
              <a:extLst>
                <a:ext uri="{FF2B5EF4-FFF2-40B4-BE49-F238E27FC236}">
                  <a16:creationId xmlns:a16="http://schemas.microsoft.com/office/drawing/2014/main" id="{43FF0E75-5E24-47B4-9317-1AA9510C0F86}"/>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8668855" y="3528309"/>
              <a:ext cx="532295" cy="543629"/>
            </a:xfrm>
            <a:prstGeom prst="rect">
              <a:avLst/>
            </a:prstGeom>
          </p:spPr>
        </p:pic>
        <p:sp>
          <p:nvSpPr>
            <p:cNvPr id="38" name="Rectangle 37">
              <a:extLst>
                <a:ext uri="{FF2B5EF4-FFF2-40B4-BE49-F238E27FC236}">
                  <a16:creationId xmlns:a16="http://schemas.microsoft.com/office/drawing/2014/main" id="{DB33A715-C47F-4509-9A06-3A45C979E484}"/>
                </a:ext>
              </a:extLst>
            </p:cNvPr>
            <p:cNvSpPr/>
            <p:nvPr/>
          </p:nvSpPr>
          <p:spPr>
            <a:xfrm>
              <a:off x="8611703" y="3477061"/>
              <a:ext cx="642938" cy="64293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41" name="Group 40">
            <a:extLst>
              <a:ext uri="{FF2B5EF4-FFF2-40B4-BE49-F238E27FC236}">
                <a16:creationId xmlns:a16="http://schemas.microsoft.com/office/drawing/2014/main" id="{38192305-FEFC-4F21-B4B5-030BF6A90D9E}"/>
              </a:ext>
            </a:extLst>
          </p:cNvPr>
          <p:cNvGrpSpPr/>
          <p:nvPr/>
        </p:nvGrpSpPr>
        <p:grpSpPr>
          <a:xfrm>
            <a:off x="5690153" y="2540507"/>
            <a:ext cx="523439" cy="523439"/>
            <a:chOff x="8611703" y="3477061"/>
            <a:chExt cx="642938" cy="642938"/>
          </a:xfrm>
        </p:grpSpPr>
        <p:pic>
          <p:nvPicPr>
            <p:cNvPr id="42" name="Graphic 41">
              <a:extLst>
                <a:ext uri="{FF2B5EF4-FFF2-40B4-BE49-F238E27FC236}">
                  <a16:creationId xmlns:a16="http://schemas.microsoft.com/office/drawing/2014/main" id="{A3218D27-D267-4E4C-8C1A-AFFB57150879}"/>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8668855" y="3528309"/>
              <a:ext cx="532295" cy="543629"/>
            </a:xfrm>
            <a:prstGeom prst="rect">
              <a:avLst/>
            </a:prstGeom>
          </p:spPr>
        </p:pic>
        <p:sp>
          <p:nvSpPr>
            <p:cNvPr id="43" name="Rectangle 42">
              <a:extLst>
                <a:ext uri="{FF2B5EF4-FFF2-40B4-BE49-F238E27FC236}">
                  <a16:creationId xmlns:a16="http://schemas.microsoft.com/office/drawing/2014/main" id="{5EC53DEB-DFCB-4AE7-892C-1E0635875E49}"/>
                </a:ext>
              </a:extLst>
            </p:cNvPr>
            <p:cNvSpPr/>
            <p:nvPr/>
          </p:nvSpPr>
          <p:spPr>
            <a:xfrm>
              <a:off x="8611703" y="3477061"/>
              <a:ext cx="642938" cy="64293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18" name="Group 17">
            <a:extLst>
              <a:ext uri="{FF2B5EF4-FFF2-40B4-BE49-F238E27FC236}">
                <a16:creationId xmlns:a16="http://schemas.microsoft.com/office/drawing/2014/main" id="{76D47689-A880-4E32-B778-AB9DC565625D}"/>
              </a:ext>
            </a:extLst>
          </p:cNvPr>
          <p:cNvGrpSpPr/>
          <p:nvPr/>
        </p:nvGrpSpPr>
        <p:grpSpPr>
          <a:xfrm>
            <a:off x="5706465" y="1860286"/>
            <a:ext cx="523439" cy="523439"/>
            <a:chOff x="9298630" y="2707238"/>
            <a:chExt cx="523439" cy="523439"/>
          </a:xfrm>
        </p:grpSpPr>
        <p:pic>
          <p:nvPicPr>
            <p:cNvPr id="45" name="Graphic 44">
              <a:extLst>
                <a:ext uri="{FF2B5EF4-FFF2-40B4-BE49-F238E27FC236}">
                  <a16:creationId xmlns:a16="http://schemas.microsoft.com/office/drawing/2014/main" id="{4433854B-0E24-4309-B03B-7099AC96E549}"/>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345160" y="2748961"/>
              <a:ext cx="433361" cy="442588"/>
            </a:xfrm>
            <a:prstGeom prst="rect">
              <a:avLst/>
            </a:prstGeom>
          </p:spPr>
        </p:pic>
        <p:sp>
          <p:nvSpPr>
            <p:cNvPr id="46" name="Rectangle 45">
              <a:extLst>
                <a:ext uri="{FF2B5EF4-FFF2-40B4-BE49-F238E27FC236}">
                  <a16:creationId xmlns:a16="http://schemas.microsoft.com/office/drawing/2014/main" id="{B42F9A14-4897-445B-9E57-FDFD46D43E7A}"/>
                </a:ext>
              </a:extLst>
            </p:cNvPr>
            <p:cNvSpPr/>
            <p:nvPr/>
          </p:nvSpPr>
          <p:spPr>
            <a:xfrm>
              <a:off x="9298630" y="2707238"/>
              <a:ext cx="523439" cy="52343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19" name="Group 18">
            <a:extLst>
              <a:ext uri="{FF2B5EF4-FFF2-40B4-BE49-F238E27FC236}">
                <a16:creationId xmlns:a16="http://schemas.microsoft.com/office/drawing/2014/main" id="{635AFB2A-4FFA-4E73-9D69-07803A0DA76F}"/>
              </a:ext>
            </a:extLst>
          </p:cNvPr>
          <p:cNvGrpSpPr/>
          <p:nvPr/>
        </p:nvGrpSpPr>
        <p:grpSpPr>
          <a:xfrm>
            <a:off x="5001595" y="1860285"/>
            <a:ext cx="523439" cy="523439"/>
            <a:chOff x="8453722" y="2748961"/>
            <a:chExt cx="523439" cy="523439"/>
          </a:xfrm>
        </p:grpSpPr>
        <p:pic>
          <p:nvPicPr>
            <p:cNvPr id="14" name="Graphic 13">
              <a:extLst>
                <a:ext uri="{FF2B5EF4-FFF2-40B4-BE49-F238E27FC236}">
                  <a16:creationId xmlns:a16="http://schemas.microsoft.com/office/drawing/2014/main" id="{4E7B40DD-4ADB-4F39-86B2-1390CD35CD08}"/>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8479915" y="2788089"/>
              <a:ext cx="471054" cy="442588"/>
            </a:xfrm>
            <a:prstGeom prst="rect">
              <a:avLst/>
            </a:prstGeom>
          </p:spPr>
        </p:pic>
        <p:sp>
          <p:nvSpPr>
            <p:cNvPr id="48" name="Rectangle 47">
              <a:extLst>
                <a:ext uri="{FF2B5EF4-FFF2-40B4-BE49-F238E27FC236}">
                  <a16:creationId xmlns:a16="http://schemas.microsoft.com/office/drawing/2014/main" id="{1A4E4A9D-69DD-41A7-849F-B41D06F5257E}"/>
                </a:ext>
              </a:extLst>
            </p:cNvPr>
            <p:cNvSpPr/>
            <p:nvPr/>
          </p:nvSpPr>
          <p:spPr>
            <a:xfrm>
              <a:off x="8453722" y="2748961"/>
              <a:ext cx="523439" cy="52343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51" name="Group 50">
            <a:extLst>
              <a:ext uri="{FF2B5EF4-FFF2-40B4-BE49-F238E27FC236}">
                <a16:creationId xmlns:a16="http://schemas.microsoft.com/office/drawing/2014/main" id="{4818841A-2FF8-4ABB-B6F2-1B28DE309243}"/>
              </a:ext>
            </a:extLst>
          </p:cNvPr>
          <p:cNvGrpSpPr/>
          <p:nvPr/>
        </p:nvGrpSpPr>
        <p:grpSpPr>
          <a:xfrm>
            <a:off x="5001594" y="2540507"/>
            <a:ext cx="523439" cy="523439"/>
            <a:chOff x="8453722" y="2748961"/>
            <a:chExt cx="523439" cy="523439"/>
          </a:xfrm>
        </p:grpSpPr>
        <p:pic>
          <p:nvPicPr>
            <p:cNvPr id="52" name="Graphic 51">
              <a:extLst>
                <a:ext uri="{FF2B5EF4-FFF2-40B4-BE49-F238E27FC236}">
                  <a16:creationId xmlns:a16="http://schemas.microsoft.com/office/drawing/2014/main" id="{87BBE34B-1414-489E-8D56-2319AE64DA5D}"/>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8479915" y="2788089"/>
              <a:ext cx="471054" cy="442588"/>
            </a:xfrm>
            <a:prstGeom prst="rect">
              <a:avLst/>
            </a:prstGeom>
          </p:spPr>
        </p:pic>
        <p:sp>
          <p:nvSpPr>
            <p:cNvPr id="53" name="Rectangle 52">
              <a:extLst>
                <a:ext uri="{FF2B5EF4-FFF2-40B4-BE49-F238E27FC236}">
                  <a16:creationId xmlns:a16="http://schemas.microsoft.com/office/drawing/2014/main" id="{7545218C-E993-4F6E-B26B-0A0EEE696111}"/>
                </a:ext>
              </a:extLst>
            </p:cNvPr>
            <p:cNvSpPr/>
            <p:nvPr/>
          </p:nvSpPr>
          <p:spPr>
            <a:xfrm>
              <a:off x="8453722" y="2748961"/>
              <a:ext cx="523439" cy="52343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54" name="Group 53">
            <a:extLst>
              <a:ext uri="{FF2B5EF4-FFF2-40B4-BE49-F238E27FC236}">
                <a16:creationId xmlns:a16="http://schemas.microsoft.com/office/drawing/2014/main" id="{B30C82ED-F005-4545-956B-54E1FBA9D751}"/>
              </a:ext>
            </a:extLst>
          </p:cNvPr>
          <p:cNvGrpSpPr/>
          <p:nvPr/>
        </p:nvGrpSpPr>
        <p:grpSpPr>
          <a:xfrm>
            <a:off x="5001594" y="3218799"/>
            <a:ext cx="523439" cy="523439"/>
            <a:chOff x="8453722" y="2748961"/>
            <a:chExt cx="523439" cy="523439"/>
          </a:xfrm>
        </p:grpSpPr>
        <p:pic>
          <p:nvPicPr>
            <p:cNvPr id="55" name="Graphic 54">
              <a:extLst>
                <a:ext uri="{FF2B5EF4-FFF2-40B4-BE49-F238E27FC236}">
                  <a16:creationId xmlns:a16="http://schemas.microsoft.com/office/drawing/2014/main" id="{2FAF200B-1866-4C40-94DA-91B6D44A37B5}"/>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8479915" y="2788089"/>
              <a:ext cx="471054" cy="442588"/>
            </a:xfrm>
            <a:prstGeom prst="rect">
              <a:avLst/>
            </a:prstGeom>
          </p:spPr>
        </p:pic>
        <p:sp>
          <p:nvSpPr>
            <p:cNvPr id="56" name="Rectangle 55">
              <a:extLst>
                <a:ext uri="{FF2B5EF4-FFF2-40B4-BE49-F238E27FC236}">
                  <a16:creationId xmlns:a16="http://schemas.microsoft.com/office/drawing/2014/main" id="{E91F13D8-7A64-46A1-953F-79E5F3D76214}"/>
                </a:ext>
              </a:extLst>
            </p:cNvPr>
            <p:cNvSpPr/>
            <p:nvPr/>
          </p:nvSpPr>
          <p:spPr>
            <a:xfrm>
              <a:off x="8453722" y="2748961"/>
              <a:ext cx="523439" cy="52343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57" name="Group 56">
            <a:extLst>
              <a:ext uri="{FF2B5EF4-FFF2-40B4-BE49-F238E27FC236}">
                <a16:creationId xmlns:a16="http://schemas.microsoft.com/office/drawing/2014/main" id="{1926F9F3-ADD9-4457-B761-1E78F5CC0A42}"/>
              </a:ext>
            </a:extLst>
          </p:cNvPr>
          <p:cNvGrpSpPr/>
          <p:nvPr/>
        </p:nvGrpSpPr>
        <p:grpSpPr>
          <a:xfrm>
            <a:off x="5003367" y="3899021"/>
            <a:ext cx="523439" cy="523439"/>
            <a:chOff x="8453722" y="2748961"/>
            <a:chExt cx="523439" cy="523439"/>
          </a:xfrm>
        </p:grpSpPr>
        <p:pic>
          <p:nvPicPr>
            <p:cNvPr id="58" name="Graphic 57">
              <a:extLst>
                <a:ext uri="{FF2B5EF4-FFF2-40B4-BE49-F238E27FC236}">
                  <a16:creationId xmlns:a16="http://schemas.microsoft.com/office/drawing/2014/main" id="{889648EF-E4B3-436B-90E1-AD5100E998A0}"/>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8479915" y="2788089"/>
              <a:ext cx="471054" cy="442588"/>
            </a:xfrm>
            <a:prstGeom prst="rect">
              <a:avLst/>
            </a:prstGeom>
          </p:spPr>
        </p:pic>
        <p:sp>
          <p:nvSpPr>
            <p:cNvPr id="59" name="Rectangle 58">
              <a:extLst>
                <a:ext uri="{FF2B5EF4-FFF2-40B4-BE49-F238E27FC236}">
                  <a16:creationId xmlns:a16="http://schemas.microsoft.com/office/drawing/2014/main" id="{0228012E-1691-4789-8941-05BF8F46DB77}"/>
                </a:ext>
              </a:extLst>
            </p:cNvPr>
            <p:cNvSpPr/>
            <p:nvPr/>
          </p:nvSpPr>
          <p:spPr>
            <a:xfrm>
              <a:off x="8453722" y="2748961"/>
              <a:ext cx="523439" cy="52343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60" name="Group 59">
            <a:extLst>
              <a:ext uri="{FF2B5EF4-FFF2-40B4-BE49-F238E27FC236}">
                <a16:creationId xmlns:a16="http://schemas.microsoft.com/office/drawing/2014/main" id="{A3D202B6-3AB5-49C3-A438-5B41291FCA3E}"/>
              </a:ext>
            </a:extLst>
          </p:cNvPr>
          <p:cNvGrpSpPr/>
          <p:nvPr/>
        </p:nvGrpSpPr>
        <p:grpSpPr>
          <a:xfrm>
            <a:off x="5015881" y="4580205"/>
            <a:ext cx="523439" cy="523439"/>
            <a:chOff x="8453722" y="2748961"/>
            <a:chExt cx="523439" cy="523439"/>
          </a:xfrm>
        </p:grpSpPr>
        <p:pic>
          <p:nvPicPr>
            <p:cNvPr id="61" name="Graphic 60">
              <a:extLst>
                <a:ext uri="{FF2B5EF4-FFF2-40B4-BE49-F238E27FC236}">
                  <a16:creationId xmlns:a16="http://schemas.microsoft.com/office/drawing/2014/main" id="{D543C543-488A-4901-A60E-8D4911975BF7}"/>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8479915" y="2788089"/>
              <a:ext cx="471054" cy="442588"/>
            </a:xfrm>
            <a:prstGeom prst="rect">
              <a:avLst/>
            </a:prstGeom>
          </p:spPr>
        </p:pic>
        <p:sp>
          <p:nvSpPr>
            <p:cNvPr id="62" name="Rectangle 61">
              <a:extLst>
                <a:ext uri="{FF2B5EF4-FFF2-40B4-BE49-F238E27FC236}">
                  <a16:creationId xmlns:a16="http://schemas.microsoft.com/office/drawing/2014/main" id="{0D27AE10-A3AC-4E85-9C14-E717D6F5B11E}"/>
                </a:ext>
              </a:extLst>
            </p:cNvPr>
            <p:cNvSpPr/>
            <p:nvPr/>
          </p:nvSpPr>
          <p:spPr>
            <a:xfrm>
              <a:off x="8453722" y="2748961"/>
              <a:ext cx="523439" cy="52343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4186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6.25E-7 -7.40741E-7 L -6.25E-7 0.44051 " pathEditMode="relative" rAng="0" ptsTypes="AA">
                                      <p:cBhvr>
                                        <p:cTn id="6" dur="1000" fill="hold"/>
                                        <p:tgtEl>
                                          <p:spTgt spid="19"/>
                                        </p:tgtEl>
                                        <p:attrNameLst>
                                          <p:attrName>ppt_x</p:attrName>
                                          <p:attrName>ppt_y</p:attrName>
                                        </p:attrNameLst>
                                      </p:cBhvr>
                                      <p:rCtr x="0" y="22014"/>
                                    </p:animMotion>
                                  </p:childTnLst>
                                </p:cTn>
                              </p:par>
                              <p:par>
                                <p:cTn id="7" presetID="42" presetClass="path" presetSubtype="0" accel="50000" decel="50000" fill="hold" nodeType="withEffect">
                                  <p:stCondLst>
                                    <p:cond delay="0"/>
                                  </p:stCondLst>
                                  <p:childTnLst>
                                    <p:animMotion origin="layout" path="M -3.125E-6 -7.40741E-7 L -3.125E-6 0.4412 " pathEditMode="relative" rAng="0" ptsTypes="AA">
                                      <p:cBhvr>
                                        <p:cTn id="8" dur="1000" fill="hold"/>
                                        <p:tgtEl>
                                          <p:spTgt spid="18"/>
                                        </p:tgtEl>
                                        <p:attrNameLst>
                                          <p:attrName>ppt_x</p:attrName>
                                          <p:attrName>ppt_y</p:attrName>
                                        </p:attrNameLst>
                                      </p:cBhvr>
                                      <p:rCtr x="0" y="22060"/>
                                    </p:animMotion>
                                  </p:childTnLst>
                                </p:cTn>
                              </p:par>
                              <p:par>
                                <p:cTn id="9" presetID="42" presetClass="path" presetSubtype="0" accel="50000" decel="50000" fill="hold" nodeType="withEffect">
                                  <p:stCondLst>
                                    <p:cond delay="0"/>
                                  </p:stCondLst>
                                  <p:childTnLst>
                                    <p:animMotion origin="layout" path="M -6.25E-7 -4.81481E-6 L -6.25E-7 0.33913 " pathEditMode="relative" rAng="0" ptsTypes="AA">
                                      <p:cBhvr>
                                        <p:cTn id="10" dur="1000" fill="hold"/>
                                        <p:tgtEl>
                                          <p:spTgt spid="51"/>
                                        </p:tgtEl>
                                        <p:attrNameLst>
                                          <p:attrName>ppt_x</p:attrName>
                                          <p:attrName>ppt_y</p:attrName>
                                        </p:attrNameLst>
                                      </p:cBhvr>
                                      <p:rCtr x="0" y="16944"/>
                                    </p:animMotion>
                                  </p:childTnLst>
                                </p:cTn>
                              </p:par>
                              <p:par>
                                <p:cTn id="11" presetID="42" presetClass="path" presetSubtype="0" accel="50000" decel="50000" fill="hold" nodeType="withEffect">
                                  <p:stCondLst>
                                    <p:cond delay="0"/>
                                  </p:stCondLst>
                                  <p:childTnLst>
                                    <p:animMotion origin="layout" path="M -1.04167E-6 -4.81481E-6 L -1.04167E-6 0.34213 " pathEditMode="relative" rAng="0" ptsTypes="AA">
                                      <p:cBhvr>
                                        <p:cTn id="12" dur="1000" fill="hold"/>
                                        <p:tgtEl>
                                          <p:spTgt spid="41"/>
                                        </p:tgtEl>
                                        <p:attrNameLst>
                                          <p:attrName>ppt_x</p:attrName>
                                          <p:attrName>ppt_y</p:attrName>
                                        </p:attrNameLst>
                                      </p:cBhvr>
                                      <p:rCtr x="0" y="17106"/>
                                    </p:animMotion>
                                  </p:childTnLst>
                                </p:cTn>
                              </p:par>
                              <p:par>
                                <p:cTn id="13" presetID="42" presetClass="path" presetSubtype="0" accel="50000" decel="50000" fill="hold" nodeType="withEffect">
                                  <p:stCondLst>
                                    <p:cond delay="0"/>
                                  </p:stCondLst>
                                  <p:childTnLst>
                                    <p:animMotion origin="layout" path="M -6.25E-7 2.59259E-6 L -6.25E-7 0.24328 " pathEditMode="relative" rAng="0" ptsTypes="AA">
                                      <p:cBhvr>
                                        <p:cTn id="14" dur="1000" fill="hold"/>
                                        <p:tgtEl>
                                          <p:spTgt spid="54"/>
                                        </p:tgtEl>
                                        <p:attrNameLst>
                                          <p:attrName>ppt_x</p:attrName>
                                          <p:attrName>ppt_y</p:attrName>
                                        </p:attrNameLst>
                                      </p:cBhvr>
                                      <p:rCtr x="0" y="12153"/>
                                    </p:animMotion>
                                  </p:childTnLst>
                                </p:cTn>
                              </p:par>
                              <p:par>
                                <p:cTn id="15" presetID="42" presetClass="path" presetSubtype="0" accel="50000" decel="50000" fill="hold" nodeType="withEffect">
                                  <p:stCondLst>
                                    <p:cond delay="0"/>
                                  </p:stCondLst>
                                  <p:childTnLst>
                                    <p:animMotion origin="layout" path="M -1.04167E-6 2.59259E-6 L -1.04167E-6 0.24421 " pathEditMode="relative" rAng="0" ptsTypes="AA">
                                      <p:cBhvr>
                                        <p:cTn id="16" dur="1000" fill="hold"/>
                                        <p:tgtEl>
                                          <p:spTgt spid="36"/>
                                        </p:tgtEl>
                                        <p:attrNameLst>
                                          <p:attrName>ppt_x</p:attrName>
                                          <p:attrName>ppt_y</p:attrName>
                                        </p:attrNameLst>
                                      </p:cBhvr>
                                      <p:rCtr x="0" y="12199"/>
                                    </p:animMotion>
                                  </p:childTnLst>
                                </p:cTn>
                              </p:par>
                              <p:par>
                                <p:cTn id="17" presetID="42" presetClass="path" presetSubtype="0" accel="50000" decel="50000" fill="hold" nodeType="withEffect">
                                  <p:stCondLst>
                                    <p:cond delay="0"/>
                                  </p:stCondLst>
                                  <p:childTnLst>
                                    <p:animMotion origin="layout" path="M -8.33333E-7 -2.96296E-6 L 0.00013 0.14398 " pathEditMode="relative" rAng="0" ptsTypes="AA">
                                      <p:cBhvr>
                                        <p:cTn id="18" dur="1000" fill="hold"/>
                                        <p:tgtEl>
                                          <p:spTgt spid="57"/>
                                        </p:tgtEl>
                                        <p:attrNameLst>
                                          <p:attrName>ppt_x</p:attrName>
                                          <p:attrName>ppt_y</p:attrName>
                                        </p:attrNameLst>
                                      </p:cBhvr>
                                      <p:rCtr x="0" y="7199"/>
                                    </p:animMotion>
                                  </p:childTnLst>
                                </p:cTn>
                              </p:par>
                              <p:par>
                                <p:cTn id="19" presetID="42" presetClass="path" presetSubtype="0" accel="50000" decel="50000" fill="hold" nodeType="withEffect">
                                  <p:stCondLst>
                                    <p:cond delay="0"/>
                                  </p:stCondLst>
                                  <p:childTnLst>
                                    <p:animMotion origin="layout" path="M -1.04167E-6 -2.96296E-6 L -1.04167E-6 0.14398 " pathEditMode="relative" rAng="0" ptsTypes="AA">
                                      <p:cBhvr>
                                        <p:cTn id="20" dur="1000" fill="hold"/>
                                        <p:tgtEl>
                                          <p:spTgt spid="33"/>
                                        </p:tgtEl>
                                        <p:attrNameLst>
                                          <p:attrName>ppt_x</p:attrName>
                                          <p:attrName>ppt_y</p:attrName>
                                        </p:attrNameLst>
                                      </p:cBhvr>
                                      <p:rCtr x="0" y="7199"/>
                                    </p:animMotion>
                                  </p:childTnLst>
                                </p:cTn>
                              </p:par>
                              <p:par>
                                <p:cTn id="21" presetID="42" presetClass="path" presetSubtype="0" accel="50000" decel="50000" fill="hold" nodeType="withEffect">
                                  <p:stCondLst>
                                    <p:cond delay="0"/>
                                  </p:stCondLst>
                                  <p:childTnLst>
                                    <p:animMotion origin="layout" path="M -2.5E-6 1.48148E-6 L -0.00143 0.04398 " pathEditMode="relative" rAng="0" ptsTypes="AA">
                                      <p:cBhvr>
                                        <p:cTn id="22" dur="1000" fill="hold"/>
                                        <p:tgtEl>
                                          <p:spTgt spid="60"/>
                                        </p:tgtEl>
                                        <p:attrNameLst>
                                          <p:attrName>ppt_x</p:attrName>
                                          <p:attrName>ppt_y</p:attrName>
                                        </p:attrNameLst>
                                      </p:cBhvr>
                                      <p:rCtr x="-78" y="2199"/>
                                    </p:animMotion>
                                  </p:childTnLst>
                                </p:cTn>
                              </p:par>
                              <p:par>
                                <p:cTn id="23" presetID="42" presetClass="path" presetSubtype="0" accel="50000" decel="50000" fill="hold" nodeType="withEffect">
                                  <p:stCondLst>
                                    <p:cond delay="0"/>
                                  </p:stCondLst>
                                  <p:childTnLst>
                                    <p:animMotion origin="layout" path="M -1.04167E-6 1.48148E-6 L -1.04167E-6 0.04653 " pathEditMode="relative" rAng="0" ptsTypes="AA">
                                      <p:cBhvr>
                                        <p:cTn id="24" dur="1000" fill="hold"/>
                                        <p:tgtEl>
                                          <p:spTgt spid="11"/>
                                        </p:tgtEl>
                                        <p:attrNameLst>
                                          <p:attrName>ppt_x</p:attrName>
                                          <p:attrName>ppt_y</p:attrName>
                                        </p:attrNameLst>
                                      </p:cBhvr>
                                      <p:rCtr x="0" y="2315"/>
                                    </p:animMotion>
                                  </p:childTnLst>
                                </p:cTn>
                              </p:par>
                              <p:par>
                                <p:cTn id="25" presetID="2" presetClass="entr" presetSubtype="4" decel="60000" fill="hold" nodeType="withEffect">
                                  <p:stCondLst>
                                    <p:cond delay="0"/>
                                  </p:stCondLst>
                                  <p:childTnLst>
                                    <p:set>
                                      <p:cBhvr>
                                        <p:cTn id="26" dur="1" fill="hold">
                                          <p:stCondLst>
                                            <p:cond delay="0"/>
                                          </p:stCondLst>
                                        </p:cTn>
                                        <p:tgtEl>
                                          <p:spTgt spid="64"/>
                                        </p:tgtEl>
                                        <p:attrNameLst>
                                          <p:attrName>style.visibility</p:attrName>
                                        </p:attrNameLst>
                                      </p:cBhvr>
                                      <p:to>
                                        <p:strVal val="visible"/>
                                      </p:to>
                                    </p:set>
                                    <p:anim calcmode="lin" valueType="num">
                                      <p:cBhvr additive="base">
                                        <p:cTn id="27" dur="500" fill="hold"/>
                                        <p:tgtEl>
                                          <p:spTgt spid="64"/>
                                        </p:tgtEl>
                                        <p:attrNameLst>
                                          <p:attrName>ppt_x</p:attrName>
                                        </p:attrNameLst>
                                      </p:cBhvr>
                                      <p:tavLst>
                                        <p:tav tm="0">
                                          <p:val>
                                            <p:strVal val="#ppt_x"/>
                                          </p:val>
                                        </p:tav>
                                        <p:tav tm="100000">
                                          <p:val>
                                            <p:strVal val="#ppt_x"/>
                                          </p:val>
                                        </p:tav>
                                      </p:tavLst>
                                    </p:anim>
                                    <p:anim calcmode="lin" valueType="num">
                                      <p:cBhvr additive="base">
                                        <p:cTn id="28" dur="500" fill="hold"/>
                                        <p:tgtEl>
                                          <p:spTgt spid="6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4A83D2E3-737A-47A7-A005-817A7F27C805}"/>
              </a:ext>
            </a:extLst>
          </p:cNvPr>
          <p:cNvGrpSpPr/>
          <p:nvPr/>
        </p:nvGrpSpPr>
        <p:grpSpPr>
          <a:xfrm>
            <a:off x="4401879" y="4213117"/>
            <a:ext cx="12724140" cy="1567991"/>
            <a:chOff x="-425488" y="4213117"/>
            <a:chExt cx="12724140" cy="1567991"/>
          </a:xfrm>
        </p:grpSpPr>
        <p:grpSp>
          <p:nvGrpSpPr>
            <p:cNvPr id="13" name="Group 12">
              <a:extLst>
                <a:ext uri="{FF2B5EF4-FFF2-40B4-BE49-F238E27FC236}">
                  <a16:creationId xmlns:a16="http://schemas.microsoft.com/office/drawing/2014/main" id="{285C9604-8789-46BF-B3CC-94EE60B75D9F}"/>
                </a:ext>
              </a:extLst>
            </p:cNvPr>
            <p:cNvGrpSpPr/>
            <p:nvPr/>
          </p:nvGrpSpPr>
          <p:grpSpPr>
            <a:xfrm>
              <a:off x="-425488" y="4213117"/>
              <a:ext cx="3451374" cy="1283333"/>
              <a:chOff x="-425488" y="4213117"/>
              <a:chExt cx="3451374" cy="1283333"/>
            </a:xfrm>
          </p:grpSpPr>
          <p:pic>
            <p:nvPicPr>
              <p:cNvPr id="7" name="Graphic 6">
                <a:extLst>
                  <a:ext uri="{FF2B5EF4-FFF2-40B4-BE49-F238E27FC236}">
                    <a16:creationId xmlns:a16="http://schemas.microsoft.com/office/drawing/2014/main" id="{BA5499D2-BE00-4535-B2F0-93E5386A3B2F}"/>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18795"/>
              <a:stretch/>
            </p:blipFill>
            <p:spPr>
              <a:xfrm>
                <a:off x="895463" y="4674782"/>
                <a:ext cx="809473" cy="821668"/>
              </a:xfrm>
              <a:prstGeom prst="rect">
                <a:avLst/>
              </a:prstGeom>
            </p:spPr>
          </p:pic>
          <p:sp>
            <p:nvSpPr>
              <p:cNvPr id="39" name="TextBox 38">
                <a:extLst>
                  <a:ext uri="{FF2B5EF4-FFF2-40B4-BE49-F238E27FC236}">
                    <a16:creationId xmlns:a16="http://schemas.microsoft.com/office/drawing/2014/main" id="{4A5B1152-248E-4EAE-9394-1235B5F36726}"/>
                  </a:ext>
                </a:extLst>
              </p:cNvPr>
              <p:cNvSpPr txBox="1"/>
              <p:nvPr/>
            </p:nvSpPr>
            <p:spPr>
              <a:xfrm>
                <a:off x="-425488" y="4213117"/>
                <a:ext cx="3451374" cy="461665"/>
              </a:xfrm>
              <a:prstGeom prst="rect">
                <a:avLst/>
              </a:prstGeom>
              <a:noFill/>
            </p:spPr>
            <p:txBody>
              <a:bodyPr wrap="square" rtlCol="0">
                <a:spAutoFit/>
              </a:bodyPr>
              <a:lstStyle/>
              <a:p>
                <a:pPr algn="ctr"/>
                <a:r>
                  <a:rPr lang="en-US" sz="2400" dirty="0">
                    <a:solidFill>
                      <a:schemeClr val="bg1"/>
                    </a:solidFill>
                    <a:latin typeface="Quicksand Bold" pitchFamily="50" charset="0"/>
                  </a:rPr>
                  <a:t>Pharmacy</a:t>
                </a:r>
                <a:endParaRPr lang="en-SG" sz="2400" dirty="0">
                  <a:solidFill>
                    <a:schemeClr val="bg1"/>
                  </a:solidFill>
                  <a:latin typeface="Quicksand Bold" pitchFamily="50" charset="0"/>
                </a:endParaRPr>
              </a:p>
            </p:txBody>
          </p:sp>
        </p:grpSp>
        <p:cxnSp>
          <p:nvCxnSpPr>
            <p:cNvPr id="12" name="Straight Connector 11">
              <a:extLst>
                <a:ext uri="{FF2B5EF4-FFF2-40B4-BE49-F238E27FC236}">
                  <a16:creationId xmlns:a16="http://schemas.microsoft.com/office/drawing/2014/main" id="{44C6C9BC-B1C9-4AAA-B89E-EF737CC8565D}"/>
                </a:ext>
              </a:extLst>
            </p:cNvPr>
            <p:cNvCxnSpPr>
              <a:cxnSpLocks/>
            </p:cNvCxnSpPr>
            <p:nvPr/>
          </p:nvCxnSpPr>
          <p:spPr>
            <a:xfrm>
              <a:off x="1300199" y="5781108"/>
              <a:ext cx="9272766" cy="0"/>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09FDDB07-B297-4539-A621-EE561732E127}"/>
                </a:ext>
              </a:extLst>
            </p:cNvPr>
            <p:cNvGrpSpPr/>
            <p:nvPr/>
          </p:nvGrpSpPr>
          <p:grpSpPr>
            <a:xfrm>
              <a:off x="8847278" y="4288612"/>
              <a:ext cx="3451374" cy="1283333"/>
              <a:chOff x="-425488" y="4213117"/>
              <a:chExt cx="3451374" cy="1283333"/>
            </a:xfrm>
          </p:grpSpPr>
          <p:pic>
            <p:nvPicPr>
              <p:cNvPr id="47" name="Graphic 46">
                <a:extLst>
                  <a:ext uri="{FF2B5EF4-FFF2-40B4-BE49-F238E27FC236}">
                    <a16:creationId xmlns:a16="http://schemas.microsoft.com/office/drawing/2014/main" id="{40EC66AD-A62B-4452-A583-E95CD2FC8A42}"/>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18795"/>
              <a:stretch/>
            </p:blipFill>
            <p:spPr>
              <a:xfrm>
                <a:off x="895463" y="4674782"/>
                <a:ext cx="809473" cy="821668"/>
              </a:xfrm>
              <a:prstGeom prst="rect">
                <a:avLst/>
              </a:prstGeom>
            </p:spPr>
          </p:pic>
          <p:sp>
            <p:nvSpPr>
              <p:cNvPr id="49" name="TextBox 48">
                <a:extLst>
                  <a:ext uri="{FF2B5EF4-FFF2-40B4-BE49-F238E27FC236}">
                    <a16:creationId xmlns:a16="http://schemas.microsoft.com/office/drawing/2014/main" id="{D3BB03B7-1E3B-4757-AAB7-AD92B2E60E9A}"/>
                  </a:ext>
                </a:extLst>
              </p:cNvPr>
              <p:cNvSpPr txBox="1"/>
              <p:nvPr/>
            </p:nvSpPr>
            <p:spPr>
              <a:xfrm>
                <a:off x="-425488" y="4213117"/>
                <a:ext cx="3451374" cy="461665"/>
              </a:xfrm>
              <a:prstGeom prst="rect">
                <a:avLst/>
              </a:prstGeom>
              <a:noFill/>
            </p:spPr>
            <p:txBody>
              <a:bodyPr wrap="square" rtlCol="0">
                <a:spAutoFit/>
              </a:bodyPr>
              <a:lstStyle/>
              <a:p>
                <a:pPr algn="ctr"/>
                <a:r>
                  <a:rPr lang="en-US" sz="2400" dirty="0">
                    <a:solidFill>
                      <a:schemeClr val="bg1"/>
                    </a:solidFill>
                    <a:latin typeface="Quicksand Bold" pitchFamily="50" charset="0"/>
                  </a:rPr>
                  <a:t>Household</a:t>
                </a:r>
                <a:endParaRPr lang="en-SG" sz="2400" dirty="0">
                  <a:solidFill>
                    <a:schemeClr val="bg1"/>
                  </a:solidFill>
                  <a:latin typeface="Quicksand Bold" pitchFamily="50" charset="0"/>
                </a:endParaRPr>
              </a:p>
            </p:txBody>
          </p:sp>
        </p:grpSp>
      </p:grpSp>
      <p:grpSp>
        <p:nvGrpSpPr>
          <p:cNvPr id="17" name="Group 16">
            <a:extLst>
              <a:ext uri="{FF2B5EF4-FFF2-40B4-BE49-F238E27FC236}">
                <a16:creationId xmlns:a16="http://schemas.microsoft.com/office/drawing/2014/main" id="{67CA076E-E98D-4CE1-B522-18A7D2930CFB}"/>
              </a:ext>
            </a:extLst>
          </p:cNvPr>
          <p:cNvGrpSpPr/>
          <p:nvPr/>
        </p:nvGrpSpPr>
        <p:grpSpPr>
          <a:xfrm>
            <a:off x="4508531" y="3646967"/>
            <a:ext cx="7683469" cy="2328531"/>
            <a:chOff x="4508531" y="3646967"/>
            <a:chExt cx="7683469" cy="2328531"/>
          </a:xfrm>
        </p:grpSpPr>
        <p:sp>
          <p:nvSpPr>
            <p:cNvPr id="4" name="Rectangle 3">
              <a:extLst>
                <a:ext uri="{FF2B5EF4-FFF2-40B4-BE49-F238E27FC236}">
                  <a16:creationId xmlns:a16="http://schemas.microsoft.com/office/drawing/2014/main" id="{3B8E425F-236C-4C79-9FD2-1CB92BE9EB02}"/>
                </a:ext>
              </a:extLst>
            </p:cNvPr>
            <p:cNvSpPr/>
            <p:nvPr/>
          </p:nvSpPr>
          <p:spPr>
            <a:xfrm>
              <a:off x="4614530" y="3646967"/>
              <a:ext cx="7577470" cy="2328531"/>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SG" dirty="0"/>
            </a:p>
          </p:txBody>
        </p:sp>
        <p:grpSp>
          <p:nvGrpSpPr>
            <p:cNvPr id="3" name="Group 2">
              <a:extLst>
                <a:ext uri="{FF2B5EF4-FFF2-40B4-BE49-F238E27FC236}">
                  <a16:creationId xmlns:a16="http://schemas.microsoft.com/office/drawing/2014/main" id="{3240A34D-04B4-4E5B-898E-07C8443EA67E}"/>
                </a:ext>
              </a:extLst>
            </p:cNvPr>
            <p:cNvGrpSpPr/>
            <p:nvPr/>
          </p:nvGrpSpPr>
          <p:grpSpPr>
            <a:xfrm>
              <a:off x="4508531" y="3765479"/>
              <a:ext cx="2220368" cy="2111324"/>
              <a:chOff x="4508531" y="3765479"/>
              <a:chExt cx="2220368" cy="2111324"/>
            </a:xfrm>
          </p:grpSpPr>
          <p:pic>
            <p:nvPicPr>
              <p:cNvPr id="64" name="Graphic 63">
                <a:extLst>
                  <a:ext uri="{FF2B5EF4-FFF2-40B4-BE49-F238E27FC236}">
                    <a16:creationId xmlns:a16="http://schemas.microsoft.com/office/drawing/2014/main" id="{813E64B3-3416-4BF1-AD2C-CAF5C6702DD7}"/>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r="-509" b="23542"/>
              <a:stretch/>
            </p:blipFill>
            <p:spPr>
              <a:xfrm>
                <a:off x="4508531" y="3765479"/>
                <a:ext cx="2220368" cy="2111324"/>
              </a:xfrm>
              <a:prstGeom prst="rect">
                <a:avLst/>
              </a:prstGeom>
            </p:spPr>
          </p:pic>
          <p:grpSp>
            <p:nvGrpSpPr>
              <p:cNvPr id="11" name="Group 10">
                <a:extLst>
                  <a:ext uri="{FF2B5EF4-FFF2-40B4-BE49-F238E27FC236}">
                    <a16:creationId xmlns:a16="http://schemas.microsoft.com/office/drawing/2014/main" id="{EE438579-4A57-4C1E-B25D-84BEFA3FB6BB}"/>
                  </a:ext>
                </a:extLst>
              </p:cNvPr>
              <p:cNvGrpSpPr/>
              <p:nvPr/>
            </p:nvGrpSpPr>
            <p:grpSpPr>
              <a:xfrm>
                <a:off x="5700787" y="4888556"/>
                <a:ext cx="523439" cy="523439"/>
                <a:chOff x="8611703" y="3477061"/>
                <a:chExt cx="642938" cy="642938"/>
              </a:xfrm>
            </p:grpSpPr>
            <p:pic>
              <p:nvPicPr>
                <p:cNvPr id="5" name="Graphic 4">
                  <a:extLst>
                    <a:ext uri="{FF2B5EF4-FFF2-40B4-BE49-F238E27FC236}">
                      <a16:creationId xmlns:a16="http://schemas.microsoft.com/office/drawing/2014/main" id="{C8E92547-808A-4870-B087-2B65C8754D65}"/>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5147" t="7303" r="17721" b="70266"/>
                <a:stretch/>
              </p:blipFill>
              <p:spPr>
                <a:xfrm>
                  <a:off x="8668855" y="3528309"/>
                  <a:ext cx="532295" cy="543629"/>
                </a:xfrm>
                <a:prstGeom prst="rect">
                  <a:avLst/>
                </a:prstGeom>
              </p:spPr>
            </p:pic>
            <p:sp>
              <p:nvSpPr>
                <p:cNvPr id="9" name="Rectangle 8">
                  <a:extLst>
                    <a:ext uri="{FF2B5EF4-FFF2-40B4-BE49-F238E27FC236}">
                      <a16:creationId xmlns:a16="http://schemas.microsoft.com/office/drawing/2014/main" id="{6C478C7B-8D87-493D-B68F-3D2CFEEE1EB1}"/>
                    </a:ext>
                  </a:extLst>
                </p:cNvPr>
                <p:cNvSpPr/>
                <p:nvPr/>
              </p:nvSpPr>
              <p:spPr>
                <a:xfrm>
                  <a:off x="8611703" y="3477061"/>
                  <a:ext cx="642938" cy="64293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60" name="Group 59">
                <a:extLst>
                  <a:ext uri="{FF2B5EF4-FFF2-40B4-BE49-F238E27FC236}">
                    <a16:creationId xmlns:a16="http://schemas.microsoft.com/office/drawing/2014/main" id="{A3D202B6-3AB5-49C3-A438-5B41291FCA3E}"/>
                  </a:ext>
                </a:extLst>
              </p:cNvPr>
              <p:cNvGrpSpPr/>
              <p:nvPr/>
            </p:nvGrpSpPr>
            <p:grpSpPr>
              <a:xfrm>
                <a:off x="4994615" y="4877923"/>
                <a:ext cx="523439" cy="523439"/>
                <a:chOff x="8453722" y="2748961"/>
                <a:chExt cx="523439" cy="523439"/>
              </a:xfrm>
            </p:grpSpPr>
            <p:pic>
              <p:nvPicPr>
                <p:cNvPr id="61" name="Graphic 60">
                  <a:extLst>
                    <a:ext uri="{FF2B5EF4-FFF2-40B4-BE49-F238E27FC236}">
                      <a16:creationId xmlns:a16="http://schemas.microsoft.com/office/drawing/2014/main" id="{D543C543-488A-4901-A60E-8D4911975BF7}"/>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53569" t="7198" r="15603" b="69353"/>
                <a:stretch/>
              </p:blipFill>
              <p:spPr>
                <a:xfrm>
                  <a:off x="8479915" y="2788089"/>
                  <a:ext cx="471054" cy="442588"/>
                </a:xfrm>
                <a:prstGeom prst="rect">
                  <a:avLst/>
                </a:prstGeom>
              </p:spPr>
            </p:pic>
            <p:sp>
              <p:nvSpPr>
                <p:cNvPr id="62" name="Rectangle 61">
                  <a:extLst>
                    <a:ext uri="{FF2B5EF4-FFF2-40B4-BE49-F238E27FC236}">
                      <a16:creationId xmlns:a16="http://schemas.microsoft.com/office/drawing/2014/main" id="{0D27AE10-A3AC-4E85-9C14-E717D6F5B11E}"/>
                    </a:ext>
                  </a:extLst>
                </p:cNvPr>
                <p:cNvSpPr/>
                <p:nvPr/>
              </p:nvSpPr>
              <p:spPr>
                <a:xfrm>
                  <a:off x="8453722" y="2748961"/>
                  <a:ext cx="523439" cy="52343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grpSp>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387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withEffect">
                                  <p:stCondLst>
                                    <p:cond delay="0"/>
                                  </p:stCondLst>
                                  <p:childTnLst>
                                    <p:animMotion origin="layout" path="M -2.5E-6 -3.7037E-6 L -0.39375 -3.7037E-6 " pathEditMode="relative" rAng="0" ptsTypes="AA">
                                      <p:cBhvr>
                                        <p:cTn id="6" dur="1000" fill="hold"/>
                                        <p:tgtEl>
                                          <p:spTgt spid="16"/>
                                        </p:tgtEl>
                                        <p:attrNameLst>
                                          <p:attrName>ppt_x</p:attrName>
                                          <p:attrName>ppt_y</p:attrName>
                                        </p:attrNameLst>
                                      </p:cBhvr>
                                      <p:rCtr x="-19688" y="0"/>
                                    </p:animMotion>
                                  </p:childTnLst>
                                </p:cTn>
                              </p:par>
                              <p:par>
                                <p:cTn id="7" presetID="2" presetClass="exit" presetSubtype="2" accel="60000" fill="hold" nodeType="withEffect">
                                  <p:stCondLst>
                                    <p:cond delay="0"/>
                                  </p:stCondLst>
                                  <p:childTnLst>
                                    <p:anim calcmode="lin" valueType="num">
                                      <p:cBhvr additive="base">
                                        <p:cTn id="8" dur="500"/>
                                        <p:tgtEl>
                                          <p:spTgt spid="17"/>
                                        </p:tgtEl>
                                        <p:attrNameLst>
                                          <p:attrName>ppt_x</p:attrName>
                                        </p:attrNameLst>
                                      </p:cBhvr>
                                      <p:tavLst>
                                        <p:tav tm="0">
                                          <p:val>
                                            <p:strVal val="ppt_x"/>
                                          </p:val>
                                        </p:tav>
                                        <p:tav tm="100000">
                                          <p:val>
                                            <p:strVal val="1+ppt_w/2"/>
                                          </p:val>
                                        </p:tav>
                                      </p:tavLst>
                                    </p:anim>
                                    <p:anim calcmode="lin" valueType="num">
                                      <p:cBhvr additive="base">
                                        <p:cTn id="9" dur="500"/>
                                        <p:tgtEl>
                                          <p:spTgt spid="17"/>
                                        </p:tgtEl>
                                        <p:attrNameLst>
                                          <p:attrName>ppt_y</p:attrName>
                                        </p:attrNameLst>
                                      </p:cBhvr>
                                      <p:tavLst>
                                        <p:tav tm="0">
                                          <p:val>
                                            <p:strVal val="ppt_y"/>
                                          </p:val>
                                        </p:tav>
                                        <p:tav tm="100000">
                                          <p:val>
                                            <p:strVal val="ppt_y"/>
                                          </p:val>
                                        </p:tav>
                                      </p:tavLst>
                                    </p:anim>
                                    <p:set>
                                      <p:cBhvr>
                                        <p:cTn id="10" dur="1" fill="hold">
                                          <p:stCondLst>
                                            <p:cond delay="499"/>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285C9604-8789-46BF-B3CC-94EE60B75D9F}"/>
              </a:ext>
            </a:extLst>
          </p:cNvPr>
          <p:cNvGrpSpPr/>
          <p:nvPr/>
        </p:nvGrpSpPr>
        <p:grpSpPr>
          <a:xfrm>
            <a:off x="-393405" y="4213117"/>
            <a:ext cx="3451374" cy="1283333"/>
            <a:chOff x="-425488" y="4213117"/>
            <a:chExt cx="3451374" cy="1283333"/>
          </a:xfrm>
        </p:grpSpPr>
        <p:pic>
          <p:nvPicPr>
            <p:cNvPr id="7" name="Graphic 6">
              <a:extLst>
                <a:ext uri="{FF2B5EF4-FFF2-40B4-BE49-F238E27FC236}">
                  <a16:creationId xmlns:a16="http://schemas.microsoft.com/office/drawing/2014/main" id="{BA5499D2-BE00-4535-B2F0-93E5386A3B2F}"/>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18795"/>
            <a:stretch/>
          </p:blipFill>
          <p:spPr>
            <a:xfrm>
              <a:off x="895463" y="4674782"/>
              <a:ext cx="809473" cy="821668"/>
            </a:xfrm>
            <a:prstGeom prst="rect">
              <a:avLst/>
            </a:prstGeom>
          </p:spPr>
        </p:pic>
        <p:sp>
          <p:nvSpPr>
            <p:cNvPr id="39" name="TextBox 38">
              <a:extLst>
                <a:ext uri="{FF2B5EF4-FFF2-40B4-BE49-F238E27FC236}">
                  <a16:creationId xmlns:a16="http://schemas.microsoft.com/office/drawing/2014/main" id="{4A5B1152-248E-4EAE-9394-1235B5F36726}"/>
                </a:ext>
              </a:extLst>
            </p:cNvPr>
            <p:cNvSpPr txBox="1"/>
            <p:nvPr/>
          </p:nvSpPr>
          <p:spPr>
            <a:xfrm>
              <a:off x="-425488" y="4213117"/>
              <a:ext cx="3451374" cy="461665"/>
            </a:xfrm>
            <a:prstGeom prst="rect">
              <a:avLst/>
            </a:prstGeom>
            <a:noFill/>
          </p:spPr>
          <p:txBody>
            <a:bodyPr wrap="square" rtlCol="0">
              <a:spAutoFit/>
            </a:bodyPr>
            <a:lstStyle/>
            <a:p>
              <a:pPr algn="ctr"/>
              <a:r>
                <a:rPr lang="en-US" sz="2400" dirty="0">
                  <a:solidFill>
                    <a:schemeClr val="bg1"/>
                  </a:solidFill>
                  <a:latin typeface="Quicksand Bold" pitchFamily="50" charset="0"/>
                </a:rPr>
                <a:t>Pharmacy</a:t>
              </a:r>
              <a:endParaRPr lang="en-SG" sz="2400" dirty="0">
                <a:solidFill>
                  <a:schemeClr val="bg1"/>
                </a:solidFill>
                <a:latin typeface="Quicksand Bold" pitchFamily="50" charset="0"/>
              </a:endParaRPr>
            </a:p>
          </p:txBody>
        </p:sp>
      </p:grpSp>
      <p:cxnSp>
        <p:nvCxnSpPr>
          <p:cNvPr id="12" name="Straight Connector 11">
            <a:extLst>
              <a:ext uri="{FF2B5EF4-FFF2-40B4-BE49-F238E27FC236}">
                <a16:creationId xmlns:a16="http://schemas.microsoft.com/office/drawing/2014/main" id="{44C6C9BC-B1C9-4AAA-B89E-EF737CC8565D}"/>
              </a:ext>
            </a:extLst>
          </p:cNvPr>
          <p:cNvCxnSpPr>
            <a:cxnSpLocks/>
          </p:cNvCxnSpPr>
          <p:nvPr/>
        </p:nvCxnSpPr>
        <p:spPr>
          <a:xfrm>
            <a:off x="1332282" y="5781108"/>
            <a:ext cx="9272766" cy="0"/>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09FDDB07-B297-4539-A621-EE561732E127}"/>
              </a:ext>
            </a:extLst>
          </p:cNvPr>
          <p:cNvGrpSpPr/>
          <p:nvPr/>
        </p:nvGrpSpPr>
        <p:grpSpPr>
          <a:xfrm>
            <a:off x="8879361" y="4288612"/>
            <a:ext cx="3451374" cy="1283333"/>
            <a:chOff x="-425488" y="4213117"/>
            <a:chExt cx="3451374" cy="1283333"/>
          </a:xfrm>
        </p:grpSpPr>
        <p:pic>
          <p:nvPicPr>
            <p:cNvPr id="47" name="Graphic 46">
              <a:extLst>
                <a:ext uri="{FF2B5EF4-FFF2-40B4-BE49-F238E27FC236}">
                  <a16:creationId xmlns:a16="http://schemas.microsoft.com/office/drawing/2014/main" id="{40EC66AD-A62B-4452-A583-E95CD2FC8A42}"/>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18795"/>
            <a:stretch/>
          </p:blipFill>
          <p:spPr>
            <a:xfrm>
              <a:off x="895463" y="4674782"/>
              <a:ext cx="809473" cy="821668"/>
            </a:xfrm>
            <a:prstGeom prst="rect">
              <a:avLst/>
            </a:prstGeom>
          </p:spPr>
        </p:pic>
        <p:sp>
          <p:nvSpPr>
            <p:cNvPr id="49" name="TextBox 48">
              <a:extLst>
                <a:ext uri="{FF2B5EF4-FFF2-40B4-BE49-F238E27FC236}">
                  <a16:creationId xmlns:a16="http://schemas.microsoft.com/office/drawing/2014/main" id="{D3BB03B7-1E3B-4757-AAB7-AD92B2E60E9A}"/>
                </a:ext>
              </a:extLst>
            </p:cNvPr>
            <p:cNvSpPr txBox="1"/>
            <p:nvPr/>
          </p:nvSpPr>
          <p:spPr>
            <a:xfrm>
              <a:off x="-425488" y="4213117"/>
              <a:ext cx="3451374" cy="461665"/>
            </a:xfrm>
            <a:prstGeom prst="rect">
              <a:avLst/>
            </a:prstGeom>
            <a:noFill/>
          </p:spPr>
          <p:txBody>
            <a:bodyPr wrap="square" rtlCol="0">
              <a:spAutoFit/>
            </a:bodyPr>
            <a:lstStyle/>
            <a:p>
              <a:pPr algn="ctr"/>
              <a:r>
                <a:rPr lang="en-US" sz="2400" dirty="0">
                  <a:solidFill>
                    <a:schemeClr val="bg1"/>
                  </a:solidFill>
                  <a:latin typeface="Quicksand Bold" pitchFamily="50" charset="0"/>
                </a:rPr>
                <a:t>Household</a:t>
              </a:r>
              <a:endParaRPr lang="en-SG" sz="2400" dirty="0">
                <a:solidFill>
                  <a:schemeClr val="bg1"/>
                </a:solidFill>
                <a:latin typeface="Quicksand Bold" pitchFamily="50" charset="0"/>
              </a:endParaRPr>
            </a:p>
          </p:txBody>
        </p:sp>
      </p:grpSp>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29008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1000"/>
                                        <p:tgtEl>
                                          <p:spTgt spid="44"/>
                                        </p:tgtEl>
                                      </p:cBhvr>
                                    </p:animEffect>
                                    <p:set>
                                      <p:cBhvr>
                                        <p:cTn id="7" dur="1" fill="hold">
                                          <p:stCondLst>
                                            <p:cond delay="999"/>
                                          </p:stCondLst>
                                        </p:cTn>
                                        <p:tgtEl>
                                          <p:spTgt spid="44"/>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1000"/>
                                        <p:tgtEl>
                                          <p:spTgt spid="12"/>
                                        </p:tgtEl>
                                      </p:cBhvr>
                                    </p:animEffect>
                                    <p:set>
                                      <p:cBhvr>
                                        <p:cTn id="10" dur="1" fill="hold">
                                          <p:stCondLst>
                                            <p:cond delay="999"/>
                                          </p:stCondLst>
                                        </p:cTn>
                                        <p:tgtEl>
                                          <p:spTgt spid="12"/>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1000"/>
                                        <p:tgtEl>
                                          <p:spTgt spid="13"/>
                                        </p:tgtEl>
                                      </p:cBhvr>
                                    </p:animEffect>
                                    <p:set>
                                      <p:cBhvr>
                                        <p:cTn id="13" dur="1" fill="hold">
                                          <p:stCondLst>
                                            <p:cond delay="999"/>
                                          </p:stCondLst>
                                        </p:cTn>
                                        <p:tgtEl>
                                          <p:spTgt spid="13"/>
                                        </p:tgtEl>
                                        <p:attrNameLst>
                                          <p:attrName>style.visibility</p:attrName>
                                        </p:attrNameLst>
                                      </p:cBhvr>
                                      <p:to>
                                        <p:strVal val="hidden"/>
                                      </p:to>
                                    </p:set>
                                  </p:childTnLst>
                                </p:cTn>
                              </p:par>
                              <p:par>
                                <p:cTn id="14" presetID="32" presetClass="emph" presetSubtype="0" fill="hold" nodeType="withEffect">
                                  <p:stCondLst>
                                    <p:cond delay="0"/>
                                  </p:stCondLst>
                                  <p:childTnLst>
                                    <p:animRot by="120000">
                                      <p:cBhvr>
                                        <p:cTn id="15" dur="100" fill="hold">
                                          <p:stCondLst>
                                            <p:cond delay="0"/>
                                          </p:stCondLst>
                                        </p:cTn>
                                        <p:tgtEl>
                                          <p:spTgt spid="44"/>
                                        </p:tgtEl>
                                        <p:attrNameLst>
                                          <p:attrName>r</p:attrName>
                                        </p:attrNameLst>
                                      </p:cBhvr>
                                    </p:animRot>
                                    <p:animRot by="-240000">
                                      <p:cBhvr>
                                        <p:cTn id="16" dur="200" fill="hold">
                                          <p:stCondLst>
                                            <p:cond delay="200"/>
                                          </p:stCondLst>
                                        </p:cTn>
                                        <p:tgtEl>
                                          <p:spTgt spid="44"/>
                                        </p:tgtEl>
                                        <p:attrNameLst>
                                          <p:attrName>r</p:attrName>
                                        </p:attrNameLst>
                                      </p:cBhvr>
                                    </p:animRot>
                                    <p:animRot by="240000">
                                      <p:cBhvr>
                                        <p:cTn id="17" dur="200" fill="hold">
                                          <p:stCondLst>
                                            <p:cond delay="400"/>
                                          </p:stCondLst>
                                        </p:cTn>
                                        <p:tgtEl>
                                          <p:spTgt spid="44"/>
                                        </p:tgtEl>
                                        <p:attrNameLst>
                                          <p:attrName>r</p:attrName>
                                        </p:attrNameLst>
                                      </p:cBhvr>
                                    </p:animRot>
                                    <p:animRot by="-240000">
                                      <p:cBhvr>
                                        <p:cTn id="18" dur="200" fill="hold">
                                          <p:stCondLst>
                                            <p:cond delay="600"/>
                                          </p:stCondLst>
                                        </p:cTn>
                                        <p:tgtEl>
                                          <p:spTgt spid="44"/>
                                        </p:tgtEl>
                                        <p:attrNameLst>
                                          <p:attrName>r</p:attrName>
                                        </p:attrNameLst>
                                      </p:cBhvr>
                                    </p:animRot>
                                    <p:animRot by="120000">
                                      <p:cBhvr>
                                        <p:cTn id="19" dur="200" fill="hold">
                                          <p:stCondLst>
                                            <p:cond delay="800"/>
                                          </p:stCondLst>
                                        </p:cTn>
                                        <p:tgtEl>
                                          <p:spTgt spid="4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grpSp>
        <p:nvGrpSpPr>
          <p:cNvPr id="41" name="Group 40">
            <a:extLst>
              <a:ext uri="{FF2B5EF4-FFF2-40B4-BE49-F238E27FC236}">
                <a16:creationId xmlns:a16="http://schemas.microsoft.com/office/drawing/2014/main" id="{3AD2DCD5-5D41-4843-8EBD-484C10579C05}"/>
              </a:ext>
            </a:extLst>
          </p:cNvPr>
          <p:cNvGrpSpPr/>
          <p:nvPr/>
        </p:nvGrpSpPr>
        <p:grpSpPr>
          <a:xfrm>
            <a:off x="9162137" y="63798"/>
            <a:ext cx="1219200" cy="1159324"/>
            <a:chOff x="4508531" y="3765479"/>
            <a:chExt cx="2220368" cy="2111324"/>
          </a:xfrm>
        </p:grpSpPr>
        <p:pic>
          <p:nvPicPr>
            <p:cNvPr id="42" name="Graphic 41">
              <a:extLst>
                <a:ext uri="{FF2B5EF4-FFF2-40B4-BE49-F238E27FC236}">
                  <a16:creationId xmlns:a16="http://schemas.microsoft.com/office/drawing/2014/main" id="{E3F18835-E8B0-480F-8C53-73D65D265D0A}"/>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r="-509" b="23542"/>
            <a:stretch/>
          </p:blipFill>
          <p:spPr>
            <a:xfrm>
              <a:off x="4508531" y="3765479"/>
              <a:ext cx="2220368" cy="2111324"/>
            </a:xfrm>
            <a:prstGeom prst="rect">
              <a:avLst/>
            </a:prstGeom>
          </p:spPr>
        </p:pic>
        <p:grpSp>
          <p:nvGrpSpPr>
            <p:cNvPr id="43" name="Group 42">
              <a:extLst>
                <a:ext uri="{FF2B5EF4-FFF2-40B4-BE49-F238E27FC236}">
                  <a16:creationId xmlns:a16="http://schemas.microsoft.com/office/drawing/2014/main" id="{6C350F62-7E08-4E55-B3C6-F39260B58FAB}"/>
                </a:ext>
              </a:extLst>
            </p:cNvPr>
            <p:cNvGrpSpPr/>
            <p:nvPr/>
          </p:nvGrpSpPr>
          <p:grpSpPr>
            <a:xfrm>
              <a:off x="5700787" y="4888556"/>
              <a:ext cx="523439" cy="523439"/>
              <a:chOff x="8611703" y="3477061"/>
              <a:chExt cx="642938" cy="642938"/>
            </a:xfrm>
          </p:grpSpPr>
          <p:pic>
            <p:nvPicPr>
              <p:cNvPr id="50" name="Graphic 49">
                <a:extLst>
                  <a:ext uri="{FF2B5EF4-FFF2-40B4-BE49-F238E27FC236}">
                    <a16:creationId xmlns:a16="http://schemas.microsoft.com/office/drawing/2014/main" id="{BF11197F-A6FC-43D4-A7F1-5DAE91A5074D}"/>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5147" t="7303" r="17721" b="70266"/>
              <a:stretch/>
            </p:blipFill>
            <p:spPr>
              <a:xfrm>
                <a:off x="8668855" y="3528309"/>
                <a:ext cx="532295" cy="543629"/>
              </a:xfrm>
              <a:prstGeom prst="rect">
                <a:avLst/>
              </a:prstGeom>
            </p:spPr>
          </p:pic>
          <p:sp>
            <p:nvSpPr>
              <p:cNvPr id="51" name="Rectangle 50">
                <a:extLst>
                  <a:ext uri="{FF2B5EF4-FFF2-40B4-BE49-F238E27FC236}">
                    <a16:creationId xmlns:a16="http://schemas.microsoft.com/office/drawing/2014/main" id="{65B099E7-83ED-4001-8EBE-ECFA7D866633}"/>
                  </a:ext>
                </a:extLst>
              </p:cNvPr>
              <p:cNvSpPr/>
              <p:nvPr/>
            </p:nvSpPr>
            <p:spPr>
              <a:xfrm>
                <a:off x="8611703" y="3477061"/>
                <a:ext cx="642938" cy="64293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45" name="Group 44">
              <a:extLst>
                <a:ext uri="{FF2B5EF4-FFF2-40B4-BE49-F238E27FC236}">
                  <a16:creationId xmlns:a16="http://schemas.microsoft.com/office/drawing/2014/main" id="{A00926A9-D72B-4021-A1A8-B0A13996E878}"/>
                </a:ext>
              </a:extLst>
            </p:cNvPr>
            <p:cNvGrpSpPr/>
            <p:nvPr/>
          </p:nvGrpSpPr>
          <p:grpSpPr>
            <a:xfrm>
              <a:off x="4994615" y="4877923"/>
              <a:ext cx="523439" cy="523439"/>
              <a:chOff x="8453722" y="2748961"/>
              <a:chExt cx="523439" cy="523439"/>
            </a:xfrm>
          </p:grpSpPr>
          <p:pic>
            <p:nvPicPr>
              <p:cNvPr id="46" name="Graphic 45">
                <a:extLst>
                  <a:ext uri="{FF2B5EF4-FFF2-40B4-BE49-F238E27FC236}">
                    <a16:creationId xmlns:a16="http://schemas.microsoft.com/office/drawing/2014/main" id="{1A8D184B-299B-44D5-AB08-90F0736B1BF8}"/>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53569" t="7198" r="15603" b="69353"/>
              <a:stretch/>
            </p:blipFill>
            <p:spPr>
              <a:xfrm>
                <a:off x="8479915" y="2788089"/>
                <a:ext cx="471054" cy="442588"/>
              </a:xfrm>
              <a:prstGeom prst="rect">
                <a:avLst/>
              </a:prstGeom>
            </p:spPr>
          </p:pic>
          <p:sp>
            <p:nvSpPr>
              <p:cNvPr id="48" name="Rectangle 47">
                <a:extLst>
                  <a:ext uri="{FF2B5EF4-FFF2-40B4-BE49-F238E27FC236}">
                    <a16:creationId xmlns:a16="http://schemas.microsoft.com/office/drawing/2014/main" id="{64728C88-74C9-457C-9E67-CAF1DC6CF51F}"/>
                  </a:ext>
                </a:extLst>
              </p:cNvPr>
              <p:cNvSpPr/>
              <p:nvPr/>
            </p:nvSpPr>
            <p:spPr>
              <a:xfrm>
                <a:off x="8453722" y="2748961"/>
                <a:ext cx="523439" cy="52343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grpSp>
        <p:nvGrpSpPr>
          <p:cNvPr id="35" name="Group 34">
            <a:extLst>
              <a:ext uri="{FF2B5EF4-FFF2-40B4-BE49-F238E27FC236}">
                <a16:creationId xmlns:a16="http://schemas.microsoft.com/office/drawing/2014/main" id="{FD461423-B7E5-4F58-9F7F-57D66AE665F6}"/>
              </a:ext>
            </a:extLst>
          </p:cNvPr>
          <p:cNvGrpSpPr/>
          <p:nvPr/>
        </p:nvGrpSpPr>
        <p:grpSpPr>
          <a:xfrm>
            <a:off x="4509844" y="1288170"/>
            <a:ext cx="6171344" cy="4478688"/>
            <a:chOff x="4509844" y="1288170"/>
            <a:chExt cx="6171344" cy="4478688"/>
          </a:xfrm>
        </p:grpSpPr>
        <p:pic>
          <p:nvPicPr>
            <p:cNvPr id="34" name="Graphic 33">
              <a:extLst>
                <a:ext uri="{FF2B5EF4-FFF2-40B4-BE49-F238E27FC236}">
                  <a16:creationId xmlns:a16="http://schemas.microsoft.com/office/drawing/2014/main" id="{4461C716-6DE5-4A0C-8AC8-B1C25D5924B8}"/>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3577"/>
            <a:stretch/>
          </p:blipFill>
          <p:spPr>
            <a:xfrm>
              <a:off x="7026395" y="1288170"/>
              <a:ext cx="3654793" cy="3948224"/>
            </a:xfrm>
            <a:prstGeom prst="rect">
              <a:avLst/>
            </a:prstGeom>
          </p:spPr>
        </p:pic>
        <p:pic>
          <p:nvPicPr>
            <p:cNvPr id="52" name="Graphic 51">
              <a:extLst>
                <a:ext uri="{FF2B5EF4-FFF2-40B4-BE49-F238E27FC236}">
                  <a16:creationId xmlns:a16="http://schemas.microsoft.com/office/drawing/2014/main" id="{347BDF60-CA7C-4128-BFA5-7127CF12E030}"/>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l="2472" t="13101" r="28" b="36217"/>
            <a:stretch/>
          </p:blipFill>
          <p:spPr>
            <a:xfrm rot="9732610" flipH="1">
              <a:off x="6898385" y="4934681"/>
              <a:ext cx="1071562" cy="603425"/>
            </a:xfrm>
            <a:prstGeom prst="rect">
              <a:avLst/>
            </a:prstGeom>
          </p:spPr>
        </p:pic>
        <p:sp>
          <p:nvSpPr>
            <p:cNvPr id="53" name="TextBox 52">
              <a:extLst>
                <a:ext uri="{FF2B5EF4-FFF2-40B4-BE49-F238E27FC236}">
                  <a16:creationId xmlns:a16="http://schemas.microsoft.com/office/drawing/2014/main" id="{CAC9AD11-8D28-42F1-8D1E-18859EA66677}"/>
                </a:ext>
              </a:extLst>
            </p:cNvPr>
            <p:cNvSpPr txBox="1"/>
            <p:nvPr/>
          </p:nvSpPr>
          <p:spPr>
            <a:xfrm rot="21264721">
              <a:off x="4509844" y="5243638"/>
              <a:ext cx="3451374" cy="523220"/>
            </a:xfrm>
            <a:prstGeom prst="rect">
              <a:avLst/>
            </a:prstGeom>
            <a:noFill/>
          </p:spPr>
          <p:txBody>
            <a:bodyPr wrap="square" rtlCol="0">
              <a:spAutoFit/>
            </a:bodyPr>
            <a:lstStyle/>
            <a:p>
              <a:pPr algn="ctr"/>
              <a:r>
                <a:rPr lang="en-US" sz="2800" dirty="0">
                  <a:solidFill>
                    <a:schemeClr val="bg1"/>
                  </a:solidFill>
                  <a:latin typeface="Quicksand Bold" pitchFamily="50" charset="0"/>
                </a:rPr>
                <a:t>HOMEBO</a:t>
              </a:r>
              <a:endParaRPr lang="en-SG" sz="2800" dirty="0">
                <a:solidFill>
                  <a:schemeClr val="bg1"/>
                </a:solidFill>
                <a:latin typeface="Quicksand Bold" pitchFamily="50" charset="0"/>
              </a:endParaRPr>
            </a:p>
          </p:txBody>
        </p:sp>
      </p:grpSp>
      <p:grpSp>
        <p:nvGrpSpPr>
          <p:cNvPr id="69" name="Group 68">
            <a:extLst>
              <a:ext uri="{FF2B5EF4-FFF2-40B4-BE49-F238E27FC236}">
                <a16:creationId xmlns:a16="http://schemas.microsoft.com/office/drawing/2014/main" id="{8726470D-73EA-405A-B591-E6CA526FBE28}"/>
              </a:ext>
            </a:extLst>
          </p:cNvPr>
          <p:cNvGrpSpPr/>
          <p:nvPr/>
        </p:nvGrpSpPr>
        <p:grpSpPr>
          <a:xfrm>
            <a:off x="2207318" y="-627321"/>
            <a:ext cx="1438193" cy="2498650"/>
            <a:chOff x="5588202" y="-627321"/>
            <a:chExt cx="1438193" cy="2498650"/>
          </a:xfrm>
        </p:grpSpPr>
        <p:sp>
          <p:nvSpPr>
            <p:cNvPr id="36" name="Oval 35">
              <a:extLst>
                <a:ext uri="{FF2B5EF4-FFF2-40B4-BE49-F238E27FC236}">
                  <a16:creationId xmlns:a16="http://schemas.microsoft.com/office/drawing/2014/main" id="{5AABD756-AA28-4EC3-A223-2185CBACA57B}"/>
                </a:ext>
              </a:extLst>
            </p:cNvPr>
            <p:cNvSpPr/>
            <p:nvPr/>
          </p:nvSpPr>
          <p:spPr>
            <a:xfrm>
              <a:off x="5588202" y="433136"/>
              <a:ext cx="1438193" cy="1438193"/>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nvGrpSpPr>
            <p:cNvPr id="58" name="Group 57">
              <a:extLst>
                <a:ext uri="{FF2B5EF4-FFF2-40B4-BE49-F238E27FC236}">
                  <a16:creationId xmlns:a16="http://schemas.microsoft.com/office/drawing/2014/main" id="{3317E01B-AD25-4D05-B5F0-D7F94EDD51FD}"/>
                </a:ext>
              </a:extLst>
            </p:cNvPr>
            <p:cNvGrpSpPr/>
            <p:nvPr/>
          </p:nvGrpSpPr>
          <p:grpSpPr>
            <a:xfrm>
              <a:off x="6292898" y="621590"/>
              <a:ext cx="4897" cy="1068492"/>
              <a:chOff x="6292898" y="621590"/>
              <a:chExt cx="4897" cy="1068492"/>
            </a:xfrm>
          </p:grpSpPr>
          <p:cxnSp>
            <p:nvCxnSpPr>
              <p:cNvPr id="63" name="Straight Connector 62">
                <a:extLst>
                  <a:ext uri="{FF2B5EF4-FFF2-40B4-BE49-F238E27FC236}">
                    <a16:creationId xmlns:a16="http://schemas.microsoft.com/office/drawing/2014/main" id="{9B44B74C-2919-464A-9AC1-5F1628C77FF6}"/>
                  </a:ext>
                </a:extLst>
              </p:cNvPr>
              <p:cNvCxnSpPr/>
              <p:nvPr/>
            </p:nvCxnSpPr>
            <p:spPr>
              <a:xfrm>
                <a:off x="6292898" y="1141599"/>
                <a:ext cx="0" cy="548483"/>
              </a:xfrm>
              <a:prstGeom prst="line">
                <a:avLst/>
              </a:prstGeom>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A19DBD85-16D3-4F6A-B4B9-103DF7BF0E93}"/>
                  </a:ext>
                </a:extLst>
              </p:cNvPr>
              <p:cNvCxnSpPr/>
              <p:nvPr/>
            </p:nvCxnSpPr>
            <p:spPr>
              <a:xfrm>
                <a:off x="6297795" y="621590"/>
                <a:ext cx="0" cy="54848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57" name="Straight Connector 56">
              <a:extLst>
                <a:ext uri="{FF2B5EF4-FFF2-40B4-BE49-F238E27FC236}">
                  <a16:creationId xmlns:a16="http://schemas.microsoft.com/office/drawing/2014/main" id="{536EF567-F0EF-46AE-8E76-D1B896624E04}"/>
                </a:ext>
              </a:extLst>
            </p:cNvPr>
            <p:cNvCxnSpPr>
              <a:cxnSpLocks/>
            </p:cNvCxnSpPr>
            <p:nvPr/>
          </p:nvCxnSpPr>
          <p:spPr>
            <a:xfrm>
              <a:off x="6287162" y="1162865"/>
              <a:ext cx="467495" cy="30927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0342001-5953-46E6-B559-68532B7F8FC6}"/>
                </a:ext>
              </a:extLst>
            </p:cNvPr>
            <p:cNvCxnSpPr>
              <a:cxnSpLocks/>
              <a:stCxn id="36" idx="0"/>
            </p:cNvCxnSpPr>
            <p:nvPr/>
          </p:nvCxnSpPr>
          <p:spPr>
            <a:xfrm flipV="1">
              <a:off x="6307299" y="-627321"/>
              <a:ext cx="0" cy="106045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9F3470C-5289-49F4-9060-A2DDAF8BD0FC}"/>
              </a:ext>
            </a:extLst>
          </p:cNvPr>
          <p:cNvGrpSpPr/>
          <p:nvPr/>
        </p:nvGrpSpPr>
        <p:grpSpPr>
          <a:xfrm>
            <a:off x="-6118009" y="-2922637"/>
            <a:ext cx="13168049" cy="12703273"/>
            <a:chOff x="-6118009" y="-2922637"/>
            <a:chExt cx="13168049" cy="12703273"/>
          </a:xfrm>
        </p:grpSpPr>
        <p:grpSp>
          <p:nvGrpSpPr>
            <p:cNvPr id="70" name="Group 69">
              <a:extLst>
                <a:ext uri="{FF2B5EF4-FFF2-40B4-BE49-F238E27FC236}">
                  <a16:creationId xmlns:a16="http://schemas.microsoft.com/office/drawing/2014/main" id="{FD6D12DF-7292-4041-B1CF-CB3FAE257577}"/>
                </a:ext>
              </a:extLst>
            </p:cNvPr>
            <p:cNvGrpSpPr/>
            <p:nvPr/>
          </p:nvGrpSpPr>
          <p:grpSpPr>
            <a:xfrm>
              <a:off x="-6118009" y="-2922637"/>
              <a:ext cx="13168049" cy="12703273"/>
              <a:chOff x="-6118009" y="-2922637"/>
              <a:chExt cx="13168049" cy="12703273"/>
            </a:xfrm>
          </p:grpSpPr>
          <p:pic>
            <p:nvPicPr>
              <p:cNvPr id="19" name="Graphic 18">
                <a:extLst>
                  <a:ext uri="{FF2B5EF4-FFF2-40B4-BE49-F238E27FC236}">
                    <a16:creationId xmlns:a16="http://schemas.microsoft.com/office/drawing/2014/main" id="{90B9B472-3321-4BE4-9F66-BEC45F93DBCA}"/>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1190" t="10566" r="11006" b="29388"/>
              <a:stretch/>
            </p:blipFill>
            <p:spPr>
              <a:xfrm>
                <a:off x="-6118009" y="-2922637"/>
                <a:ext cx="13168049" cy="12703273"/>
              </a:xfrm>
              <a:prstGeom prst="rect">
                <a:avLst/>
              </a:prstGeom>
            </p:spPr>
          </p:pic>
          <p:grpSp>
            <p:nvGrpSpPr>
              <p:cNvPr id="15" name="Group 14">
                <a:extLst>
                  <a:ext uri="{FF2B5EF4-FFF2-40B4-BE49-F238E27FC236}">
                    <a16:creationId xmlns:a16="http://schemas.microsoft.com/office/drawing/2014/main" id="{628597EA-15B0-462F-9321-29F3EA9A240E}"/>
                  </a:ext>
                </a:extLst>
              </p:cNvPr>
              <p:cNvGrpSpPr/>
              <p:nvPr/>
            </p:nvGrpSpPr>
            <p:grpSpPr>
              <a:xfrm rot="214538">
                <a:off x="-566023" y="591403"/>
                <a:ext cx="5244392" cy="5414531"/>
                <a:chOff x="46348" y="268830"/>
                <a:chExt cx="5244392" cy="5414531"/>
              </a:xfrm>
            </p:grpSpPr>
            <p:pic>
              <p:nvPicPr>
                <p:cNvPr id="14" name="Graphic 13">
                  <a:extLst>
                    <a:ext uri="{FF2B5EF4-FFF2-40B4-BE49-F238E27FC236}">
                      <a16:creationId xmlns:a16="http://schemas.microsoft.com/office/drawing/2014/main" id="{1E3F9596-DE41-4575-AC7A-29B8E9F30039}"/>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17405"/>
                <a:stretch/>
              </p:blipFill>
              <p:spPr>
                <a:xfrm rot="301067">
                  <a:off x="46348" y="268830"/>
                  <a:ext cx="5244392" cy="5414531"/>
                </a:xfrm>
                <a:prstGeom prst="rect">
                  <a:avLst/>
                </a:prstGeom>
              </p:spPr>
            </p:pic>
            <p:pic>
              <p:nvPicPr>
                <p:cNvPr id="6" name="Picture 5">
                  <a:extLst>
                    <a:ext uri="{FF2B5EF4-FFF2-40B4-BE49-F238E27FC236}">
                      <a16:creationId xmlns:a16="http://schemas.microsoft.com/office/drawing/2014/main" id="{43ADC0E0-B38E-4506-8864-3C176B97F91B}"/>
                    </a:ext>
                  </a:extLst>
                </p:cNvPr>
                <p:cNvPicPr>
                  <a:picLocks noChangeAspect="1"/>
                </p:cNvPicPr>
                <p:nvPr/>
              </p:nvPicPr>
              <p:blipFill rotWithShape="1">
                <a:blip r:embed="rId18"/>
                <a:srcRect b="33029"/>
                <a:stretch/>
              </p:blipFill>
              <p:spPr>
                <a:xfrm rot="300000">
                  <a:off x="1668166" y="1100755"/>
                  <a:ext cx="2085637" cy="3042220"/>
                </a:xfrm>
                <a:prstGeom prst="rect">
                  <a:avLst/>
                </a:prstGeom>
                <a:ln>
                  <a:solidFill>
                    <a:schemeClr val="tx1"/>
                  </a:solidFill>
                </a:ln>
              </p:spPr>
            </p:pic>
          </p:grpSp>
        </p:grpSp>
        <p:sp>
          <p:nvSpPr>
            <p:cNvPr id="2" name="Rectangle 1">
              <a:extLst>
                <a:ext uri="{FF2B5EF4-FFF2-40B4-BE49-F238E27FC236}">
                  <a16:creationId xmlns:a16="http://schemas.microsoft.com/office/drawing/2014/main" id="{399A65D9-AA45-4F5F-A507-C1F81A61FF02}"/>
                </a:ext>
              </a:extLst>
            </p:cNvPr>
            <p:cNvSpPr/>
            <p:nvPr/>
          </p:nvSpPr>
          <p:spPr>
            <a:xfrm>
              <a:off x="1677101" y="-451413"/>
              <a:ext cx="2604301" cy="1060457"/>
            </a:xfrm>
            <a:prstGeom prst="rect">
              <a:avLst/>
            </a:prstGeom>
            <a:solidFill>
              <a:srgbClr val="F3B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28" name="Rectangle 27">
              <a:extLst>
                <a:ext uri="{FF2B5EF4-FFF2-40B4-BE49-F238E27FC236}">
                  <a16:creationId xmlns:a16="http://schemas.microsoft.com/office/drawing/2014/main" id="{643ED64B-DF7F-4DD5-A909-C7CB18A7161B}"/>
                </a:ext>
              </a:extLst>
            </p:cNvPr>
            <p:cNvSpPr/>
            <p:nvPr/>
          </p:nvSpPr>
          <p:spPr>
            <a:xfrm>
              <a:off x="-91897" y="6097789"/>
              <a:ext cx="2604301" cy="1060457"/>
            </a:xfrm>
            <a:prstGeom prst="rect">
              <a:avLst/>
            </a:prstGeom>
            <a:solidFill>
              <a:srgbClr val="F3B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spTree>
    <p:extLst>
      <p:ext uri="{BB962C8B-B14F-4D97-AF65-F5344CB8AC3E}">
        <p14:creationId xmlns:p14="http://schemas.microsoft.com/office/powerpoint/2010/main" val="2910145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60000"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ppt_x"/>
                                          </p:val>
                                        </p:tav>
                                        <p:tav tm="100000">
                                          <p:val>
                                            <p:strVal val="#ppt_x"/>
                                          </p:val>
                                        </p:tav>
                                      </p:tavLst>
                                    </p:anim>
                                    <p:anim calcmode="lin" valueType="num">
                                      <p:cBhvr additive="base">
                                        <p:cTn id="8" dur="500" fill="hold"/>
                                        <p:tgtEl>
                                          <p:spTgt spid="41"/>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60000" fill="hold" nodeType="clickEffect">
                                  <p:stCondLst>
                                    <p:cond delay="0"/>
                                  </p:stCondLst>
                                  <p:childTnLst>
                                    <p:set>
                                      <p:cBhvr>
                                        <p:cTn id="12" dur="1" fill="hold">
                                          <p:stCondLst>
                                            <p:cond delay="0"/>
                                          </p:stCondLst>
                                        </p:cTn>
                                        <p:tgtEl>
                                          <p:spTgt spid="35"/>
                                        </p:tgtEl>
                                        <p:attrNameLst>
                                          <p:attrName>style.visibility</p:attrName>
                                        </p:attrNameLst>
                                      </p:cBhvr>
                                      <p:to>
                                        <p:strVal val="visible"/>
                                      </p:to>
                                    </p:set>
                                    <p:anim calcmode="lin" valueType="num">
                                      <p:cBhvr additive="base">
                                        <p:cTn id="13" dur="500" fill="hold"/>
                                        <p:tgtEl>
                                          <p:spTgt spid="35"/>
                                        </p:tgtEl>
                                        <p:attrNameLst>
                                          <p:attrName>ppt_x</p:attrName>
                                        </p:attrNameLst>
                                      </p:cBhvr>
                                      <p:tavLst>
                                        <p:tav tm="0">
                                          <p:val>
                                            <p:strVal val="#ppt_x"/>
                                          </p:val>
                                        </p:tav>
                                        <p:tav tm="100000">
                                          <p:val>
                                            <p:strVal val="#ppt_x"/>
                                          </p:val>
                                        </p:tav>
                                      </p:tavLst>
                                    </p:anim>
                                    <p:anim calcmode="lin" valueType="num">
                                      <p:cBhvr additive="base">
                                        <p:cTn id="14"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path" presetSubtype="0" accel="50000" decel="50000" fill="hold" nodeType="clickEffect">
                                  <p:stCondLst>
                                    <p:cond delay="0"/>
                                  </p:stCondLst>
                                  <p:childTnLst>
                                    <p:animMotion origin="layout" path="M -2.29167E-6 2.77556E-17 L -2.29167E-6 0.14491 " pathEditMode="relative" rAng="0" ptsTypes="AA">
                                      <p:cBhvr>
                                        <p:cTn id="18" dur="500" fill="hold"/>
                                        <p:tgtEl>
                                          <p:spTgt spid="41"/>
                                        </p:tgtEl>
                                        <p:attrNameLst>
                                          <p:attrName>ppt_x</p:attrName>
                                          <p:attrName>ppt_y</p:attrName>
                                        </p:attrNameLst>
                                      </p:cBhvr>
                                      <p:rCtr x="0" y="7245"/>
                                    </p:animMotion>
                                  </p:childTnLst>
                                </p:cTn>
                              </p:par>
                            </p:childTnLst>
                          </p:cTn>
                        </p:par>
                      </p:childTnLst>
                    </p:cTn>
                  </p:par>
                  <p:par>
                    <p:cTn id="19" fill="hold">
                      <p:stCondLst>
                        <p:cond delay="indefinite"/>
                      </p:stCondLst>
                      <p:childTnLst>
                        <p:par>
                          <p:cTn id="20" fill="hold">
                            <p:stCondLst>
                              <p:cond delay="0"/>
                            </p:stCondLst>
                            <p:childTnLst>
                              <p:par>
                                <p:cTn id="21" presetID="2" presetClass="entr" presetSubtype="8" decel="60000" fill="hold" nodeType="click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0-#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xit" presetSubtype="8" decel="60000" fill="hold" nodeType="clickEffect">
                                  <p:stCondLst>
                                    <p:cond delay="0"/>
                                  </p:stCondLst>
                                  <p:childTnLst>
                                    <p:anim calcmode="lin" valueType="num">
                                      <p:cBhvr additive="base">
                                        <p:cTn id="28" dur="500"/>
                                        <p:tgtEl>
                                          <p:spTgt spid="3"/>
                                        </p:tgtEl>
                                        <p:attrNameLst>
                                          <p:attrName>ppt_x</p:attrName>
                                        </p:attrNameLst>
                                      </p:cBhvr>
                                      <p:tavLst>
                                        <p:tav tm="0">
                                          <p:val>
                                            <p:strVal val="ppt_x"/>
                                          </p:val>
                                        </p:tav>
                                        <p:tav tm="100000">
                                          <p:val>
                                            <p:strVal val="0-ppt_w/2"/>
                                          </p:val>
                                        </p:tav>
                                      </p:tavLst>
                                    </p:anim>
                                    <p:anim calcmode="lin" valueType="num">
                                      <p:cBhvr additive="base">
                                        <p:cTn id="29" dur="500"/>
                                        <p:tgtEl>
                                          <p:spTgt spid="3"/>
                                        </p:tgtEl>
                                        <p:attrNameLst>
                                          <p:attrName>ppt_y</p:attrName>
                                        </p:attrNameLst>
                                      </p:cBhvr>
                                      <p:tavLst>
                                        <p:tav tm="0">
                                          <p:val>
                                            <p:strVal val="ppt_y"/>
                                          </p:val>
                                        </p:tav>
                                        <p:tav tm="100000">
                                          <p:val>
                                            <p:strVal val="ppt_y"/>
                                          </p:val>
                                        </p:tav>
                                      </p:tavLst>
                                    </p:anim>
                                    <p:set>
                                      <p:cBhvr>
                                        <p:cTn id="30" dur="1" fill="hold">
                                          <p:stCondLst>
                                            <p:cond delay="499"/>
                                          </p:stCondLst>
                                        </p:cTn>
                                        <p:tgtEl>
                                          <p:spTgt spid="3"/>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2" presetClass="entr" presetSubtype="1" decel="60000" fill="hold" nodeType="clickEffect">
                                  <p:stCondLst>
                                    <p:cond delay="0"/>
                                  </p:stCondLst>
                                  <p:childTnLst>
                                    <p:set>
                                      <p:cBhvr>
                                        <p:cTn id="34" dur="1" fill="hold">
                                          <p:stCondLst>
                                            <p:cond delay="0"/>
                                          </p:stCondLst>
                                        </p:cTn>
                                        <p:tgtEl>
                                          <p:spTgt spid="69"/>
                                        </p:tgtEl>
                                        <p:attrNameLst>
                                          <p:attrName>style.visibility</p:attrName>
                                        </p:attrNameLst>
                                      </p:cBhvr>
                                      <p:to>
                                        <p:strVal val="visible"/>
                                      </p:to>
                                    </p:set>
                                    <p:anim calcmode="lin" valueType="num">
                                      <p:cBhvr additive="base">
                                        <p:cTn id="35" dur="500" fill="hold"/>
                                        <p:tgtEl>
                                          <p:spTgt spid="69"/>
                                        </p:tgtEl>
                                        <p:attrNameLst>
                                          <p:attrName>ppt_x</p:attrName>
                                        </p:attrNameLst>
                                      </p:cBhvr>
                                      <p:tavLst>
                                        <p:tav tm="0">
                                          <p:val>
                                            <p:strVal val="#ppt_x"/>
                                          </p:val>
                                        </p:tav>
                                        <p:tav tm="100000">
                                          <p:val>
                                            <p:strVal val="#ppt_x"/>
                                          </p:val>
                                        </p:tav>
                                      </p:tavLst>
                                    </p:anim>
                                    <p:anim calcmode="lin" valueType="num">
                                      <p:cBhvr additive="base">
                                        <p:cTn id="36" dur="500" fill="hold"/>
                                        <p:tgtEl>
                                          <p:spTgt spid="6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grpSp>
        <p:nvGrpSpPr>
          <p:cNvPr id="41" name="Group 40">
            <a:extLst>
              <a:ext uri="{FF2B5EF4-FFF2-40B4-BE49-F238E27FC236}">
                <a16:creationId xmlns:a16="http://schemas.microsoft.com/office/drawing/2014/main" id="{3AD2DCD5-5D41-4843-8EBD-484C10579C05}"/>
              </a:ext>
            </a:extLst>
          </p:cNvPr>
          <p:cNvGrpSpPr/>
          <p:nvPr/>
        </p:nvGrpSpPr>
        <p:grpSpPr>
          <a:xfrm>
            <a:off x="9162137" y="1052577"/>
            <a:ext cx="1219200" cy="1159324"/>
            <a:chOff x="4508531" y="3765479"/>
            <a:chExt cx="2220368" cy="2111324"/>
          </a:xfrm>
        </p:grpSpPr>
        <p:pic>
          <p:nvPicPr>
            <p:cNvPr id="42" name="Graphic 41">
              <a:extLst>
                <a:ext uri="{FF2B5EF4-FFF2-40B4-BE49-F238E27FC236}">
                  <a16:creationId xmlns:a16="http://schemas.microsoft.com/office/drawing/2014/main" id="{E3F18835-E8B0-480F-8C53-73D65D265D0A}"/>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r="-509" b="23542"/>
            <a:stretch/>
          </p:blipFill>
          <p:spPr>
            <a:xfrm>
              <a:off x="4508531" y="3765479"/>
              <a:ext cx="2220368" cy="2111324"/>
            </a:xfrm>
            <a:prstGeom prst="rect">
              <a:avLst/>
            </a:prstGeom>
          </p:spPr>
        </p:pic>
        <p:grpSp>
          <p:nvGrpSpPr>
            <p:cNvPr id="43" name="Group 42">
              <a:extLst>
                <a:ext uri="{FF2B5EF4-FFF2-40B4-BE49-F238E27FC236}">
                  <a16:creationId xmlns:a16="http://schemas.microsoft.com/office/drawing/2014/main" id="{6C350F62-7E08-4E55-B3C6-F39260B58FAB}"/>
                </a:ext>
              </a:extLst>
            </p:cNvPr>
            <p:cNvGrpSpPr/>
            <p:nvPr/>
          </p:nvGrpSpPr>
          <p:grpSpPr>
            <a:xfrm>
              <a:off x="5700787" y="4888556"/>
              <a:ext cx="523439" cy="523439"/>
              <a:chOff x="8611703" y="3477061"/>
              <a:chExt cx="642938" cy="642938"/>
            </a:xfrm>
          </p:grpSpPr>
          <p:pic>
            <p:nvPicPr>
              <p:cNvPr id="50" name="Graphic 49">
                <a:extLst>
                  <a:ext uri="{FF2B5EF4-FFF2-40B4-BE49-F238E27FC236}">
                    <a16:creationId xmlns:a16="http://schemas.microsoft.com/office/drawing/2014/main" id="{BF11197F-A6FC-43D4-A7F1-5DAE91A5074D}"/>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5147" t="7303" r="17721" b="70266"/>
              <a:stretch/>
            </p:blipFill>
            <p:spPr>
              <a:xfrm>
                <a:off x="8668855" y="3528309"/>
                <a:ext cx="532295" cy="543629"/>
              </a:xfrm>
              <a:prstGeom prst="rect">
                <a:avLst/>
              </a:prstGeom>
            </p:spPr>
          </p:pic>
          <p:sp>
            <p:nvSpPr>
              <p:cNvPr id="51" name="Rectangle 50">
                <a:extLst>
                  <a:ext uri="{FF2B5EF4-FFF2-40B4-BE49-F238E27FC236}">
                    <a16:creationId xmlns:a16="http://schemas.microsoft.com/office/drawing/2014/main" id="{65B099E7-83ED-4001-8EBE-ECFA7D866633}"/>
                  </a:ext>
                </a:extLst>
              </p:cNvPr>
              <p:cNvSpPr/>
              <p:nvPr/>
            </p:nvSpPr>
            <p:spPr>
              <a:xfrm>
                <a:off x="8611703" y="3477061"/>
                <a:ext cx="642938" cy="64293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45" name="Group 44">
              <a:extLst>
                <a:ext uri="{FF2B5EF4-FFF2-40B4-BE49-F238E27FC236}">
                  <a16:creationId xmlns:a16="http://schemas.microsoft.com/office/drawing/2014/main" id="{A00926A9-D72B-4021-A1A8-B0A13996E878}"/>
                </a:ext>
              </a:extLst>
            </p:cNvPr>
            <p:cNvGrpSpPr/>
            <p:nvPr/>
          </p:nvGrpSpPr>
          <p:grpSpPr>
            <a:xfrm>
              <a:off x="4994615" y="4877923"/>
              <a:ext cx="523439" cy="523439"/>
              <a:chOff x="8453722" y="2748961"/>
              <a:chExt cx="523439" cy="523439"/>
            </a:xfrm>
          </p:grpSpPr>
          <p:pic>
            <p:nvPicPr>
              <p:cNvPr id="46" name="Graphic 45">
                <a:extLst>
                  <a:ext uri="{FF2B5EF4-FFF2-40B4-BE49-F238E27FC236}">
                    <a16:creationId xmlns:a16="http://schemas.microsoft.com/office/drawing/2014/main" id="{1A8D184B-299B-44D5-AB08-90F0736B1BF8}"/>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53569" t="7198" r="15603" b="69353"/>
              <a:stretch/>
            </p:blipFill>
            <p:spPr>
              <a:xfrm>
                <a:off x="8479915" y="2788089"/>
                <a:ext cx="471054" cy="442588"/>
              </a:xfrm>
              <a:prstGeom prst="rect">
                <a:avLst/>
              </a:prstGeom>
            </p:spPr>
          </p:pic>
          <p:sp>
            <p:nvSpPr>
              <p:cNvPr id="48" name="Rectangle 47">
                <a:extLst>
                  <a:ext uri="{FF2B5EF4-FFF2-40B4-BE49-F238E27FC236}">
                    <a16:creationId xmlns:a16="http://schemas.microsoft.com/office/drawing/2014/main" id="{64728C88-74C9-457C-9E67-CAF1DC6CF51F}"/>
                  </a:ext>
                </a:extLst>
              </p:cNvPr>
              <p:cNvSpPr/>
              <p:nvPr/>
            </p:nvSpPr>
            <p:spPr>
              <a:xfrm>
                <a:off x="8453722" y="2748961"/>
                <a:ext cx="523439" cy="52343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grpSp>
        <p:nvGrpSpPr>
          <p:cNvPr id="35" name="Group 34">
            <a:extLst>
              <a:ext uri="{FF2B5EF4-FFF2-40B4-BE49-F238E27FC236}">
                <a16:creationId xmlns:a16="http://schemas.microsoft.com/office/drawing/2014/main" id="{FD461423-B7E5-4F58-9F7F-57D66AE665F6}"/>
              </a:ext>
            </a:extLst>
          </p:cNvPr>
          <p:cNvGrpSpPr/>
          <p:nvPr/>
        </p:nvGrpSpPr>
        <p:grpSpPr>
          <a:xfrm>
            <a:off x="4509844" y="1288170"/>
            <a:ext cx="6171344" cy="4478688"/>
            <a:chOff x="4509844" y="1288170"/>
            <a:chExt cx="6171344" cy="4478688"/>
          </a:xfrm>
        </p:grpSpPr>
        <p:pic>
          <p:nvPicPr>
            <p:cNvPr id="34" name="Graphic 33">
              <a:extLst>
                <a:ext uri="{FF2B5EF4-FFF2-40B4-BE49-F238E27FC236}">
                  <a16:creationId xmlns:a16="http://schemas.microsoft.com/office/drawing/2014/main" id="{4461C716-6DE5-4A0C-8AC8-B1C25D5924B8}"/>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3577"/>
            <a:stretch/>
          </p:blipFill>
          <p:spPr>
            <a:xfrm>
              <a:off x="7026395" y="1288170"/>
              <a:ext cx="3654793" cy="3948224"/>
            </a:xfrm>
            <a:prstGeom prst="rect">
              <a:avLst/>
            </a:prstGeom>
          </p:spPr>
        </p:pic>
        <p:pic>
          <p:nvPicPr>
            <p:cNvPr id="52" name="Graphic 51">
              <a:extLst>
                <a:ext uri="{FF2B5EF4-FFF2-40B4-BE49-F238E27FC236}">
                  <a16:creationId xmlns:a16="http://schemas.microsoft.com/office/drawing/2014/main" id="{347BDF60-CA7C-4128-BFA5-7127CF12E030}"/>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l="2472" t="13101" r="28" b="36217"/>
            <a:stretch/>
          </p:blipFill>
          <p:spPr>
            <a:xfrm rot="9732610" flipH="1">
              <a:off x="6898385" y="4934681"/>
              <a:ext cx="1071562" cy="603425"/>
            </a:xfrm>
            <a:prstGeom prst="rect">
              <a:avLst/>
            </a:prstGeom>
          </p:spPr>
        </p:pic>
        <p:sp>
          <p:nvSpPr>
            <p:cNvPr id="53" name="TextBox 52">
              <a:extLst>
                <a:ext uri="{FF2B5EF4-FFF2-40B4-BE49-F238E27FC236}">
                  <a16:creationId xmlns:a16="http://schemas.microsoft.com/office/drawing/2014/main" id="{CAC9AD11-8D28-42F1-8D1E-18859EA66677}"/>
                </a:ext>
              </a:extLst>
            </p:cNvPr>
            <p:cNvSpPr txBox="1"/>
            <p:nvPr/>
          </p:nvSpPr>
          <p:spPr>
            <a:xfrm rot="21264721">
              <a:off x="4509844" y="5243638"/>
              <a:ext cx="3451374" cy="523220"/>
            </a:xfrm>
            <a:prstGeom prst="rect">
              <a:avLst/>
            </a:prstGeom>
            <a:noFill/>
          </p:spPr>
          <p:txBody>
            <a:bodyPr wrap="square" rtlCol="0">
              <a:spAutoFit/>
            </a:bodyPr>
            <a:lstStyle/>
            <a:p>
              <a:pPr algn="ctr"/>
              <a:r>
                <a:rPr lang="en-US" sz="2800" dirty="0">
                  <a:solidFill>
                    <a:schemeClr val="bg1"/>
                  </a:solidFill>
                  <a:latin typeface="Quicksand Bold" pitchFamily="50" charset="0"/>
                </a:rPr>
                <a:t>HOMEBO</a:t>
              </a:r>
              <a:endParaRPr lang="en-SG" sz="2800" dirty="0">
                <a:solidFill>
                  <a:schemeClr val="bg1"/>
                </a:solidFill>
                <a:latin typeface="Quicksand Bold" pitchFamily="50" charset="0"/>
              </a:endParaRPr>
            </a:p>
          </p:txBody>
        </p:sp>
      </p:grpSp>
      <p:sp>
        <p:nvSpPr>
          <p:cNvPr id="39" name="Oval 38">
            <a:extLst>
              <a:ext uri="{FF2B5EF4-FFF2-40B4-BE49-F238E27FC236}">
                <a16:creationId xmlns:a16="http://schemas.microsoft.com/office/drawing/2014/main" id="{AD1D3158-DB99-4315-AC17-5F95BBA46F1F}"/>
              </a:ext>
            </a:extLst>
          </p:cNvPr>
          <p:cNvSpPr/>
          <p:nvPr/>
        </p:nvSpPr>
        <p:spPr>
          <a:xfrm>
            <a:off x="2207318" y="433136"/>
            <a:ext cx="1438193" cy="1438193"/>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nvGrpSpPr>
          <p:cNvPr id="40" name="Group 39">
            <a:extLst>
              <a:ext uri="{FF2B5EF4-FFF2-40B4-BE49-F238E27FC236}">
                <a16:creationId xmlns:a16="http://schemas.microsoft.com/office/drawing/2014/main" id="{F3BCE369-0576-41F6-BD27-BAEF1834D760}"/>
              </a:ext>
            </a:extLst>
          </p:cNvPr>
          <p:cNvGrpSpPr/>
          <p:nvPr/>
        </p:nvGrpSpPr>
        <p:grpSpPr>
          <a:xfrm>
            <a:off x="2912014" y="621590"/>
            <a:ext cx="4897" cy="1068492"/>
            <a:chOff x="6292898" y="621590"/>
            <a:chExt cx="4897" cy="1068492"/>
          </a:xfrm>
        </p:grpSpPr>
        <p:cxnSp>
          <p:nvCxnSpPr>
            <p:cNvPr id="49" name="Straight Connector 48">
              <a:extLst>
                <a:ext uri="{FF2B5EF4-FFF2-40B4-BE49-F238E27FC236}">
                  <a16:creationId xmlns:a16="http://schemas.microsoft.com/office/drawing/2014/main" id="{8A327EB4-75F9-47C7-9457-F2E3A7629579}"/>
                </a:ext>
              </a:extLst>
            </p:cNvPr>
            <p:cNvCxnSpPr/>
            <p:nvPr/>
          </p:nvCxnSpPr>
          <p:spPr>
            <a:xfrm>
              <a:off x="6292898" y="1141599"/>
              <a:ext cx="0" cy="548483"/>
            </a:xfrm>
            <a:prstGeom prst="line">
              <a:avLst/>
            </a:prstGeom>
            <a:ln/>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7DC6E8C4-F8B9-434D-8EE3-839D82DEC5E4}"/>
                </a:ext>
              </a:extLst>
            </p:cNvPr>
            <p:cNvCxnSpPr/>
            <p:nvPr/>
          </p:nvCxnSpPr>
          <p:spPr>
            <a:xfrm>
              <a:off x="6297795" y="621590"/>
              <a:ext cx="0" cy="54848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44" name="Straight Connector 43">
            <a:extLst>
              <a:ext uri="{FF2B5EF4-FFF2-40B4-BE49-F238E27FC236}">
                <a16:creationId xmlns:a16="http://schemas.microsoft.com/office/drawing/2014/main" id="{E884498C-6253-444E-B68F-DFD42EBABAC8}"/>
              </a:ext>
            </a:extLst>
          </p:cNvPr>
          <p:cNvCxnSpPr>
            <a:cxnSpLocks/>
          </p:cNvCxnSpPr>
          <p:nvPr/>
        </p:nvCxnSpPr>
        <p:spPr>
          <a:xfrm>
            <a:off x="2906278" y="1162865"/>
            <a:ext cx="467495" cy="30927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2787A18-5DF7-4362-AE05-B77C049E0E0A}"/>
              </a:ext>
            </a:extLst>
          </p:cNvPr>
          <p:cNvCxnSpPr>
            <a:cxnSpLocks/>
            <a:stCxn id="39" idx="0"/>
          </p:cNvCxnSpPr>
          <p:nvPr/>
        </p:nvCxnSpPr>
        <p:spPr>
          <a:xfrm flipV="1">
            <a:off x="2926415" y="-627321"/>
            <a:ext cx="0" cy="106045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14E654F3-4FA2-4E14-B4EE-9693E1D01A60}"/>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19191"/>
          <a:stretch/>
        </p:blipFill>
        <p:spPr>
          <a:xfrm>
            <a:off x="7953469" y="3908445"/>
            <a:ext cx="765657" cy="773402"/>
          </a:xfrm>
          <a:prstGeom prst="rect">
            <a:avLst/>
          </a:prstGeom>
        </p:spPr>
      </p:pic>
    </p:spTree>
    <p:extLst>
      <p:ext uri="{BB962C8B-B14F-4D97-AF65-F5344CB8AC3E}">
        <p14:creationId xmlns:p14="http://schemas.microsoft.com/office/powerpoint/2010/main" val="1802668938"/>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accel="40000" fill="hold" nodeType="withEffect" p14:presetBounceEnd="40000">
                                      <p:stCondLst>
                                        <p:cond delay="0"/>
                                      </p:stCondLst>
                                      <p:childTnLst>
                                        <p:animRot by="21600000" p14:bounceEnd="40000">
                                          <p:cBhvr>
                                            <p:cTn id="6" dur="1000" fill="hold"/>
                                            <p:tgtEl>
                                              <p:spTgt spid="40"/>
                                            </p:tgtEl>
                                            <p:attrNameLst>
                                              <p:attrName>r</p:attrName>
                                            </p:attrNameLst>
                                          </p:cBhvr>
                                        </p:animRot>
                                      </p:childTnLst>
                                    </p:cTn>
                                  </p:par>
                                </p:childTnLst>
                              </p:cTn>
                            </p:par>
                            <p:par>
                              <p:cTn id="7" fill="hold">
                                <p:stCondLst>
                                  <p:cond delay="1000"/>
                                </p:stCondLst>
                                <p:childTnLst>
                                  <p:par>
                                    <p:cTn id="8" presetID="1" presetClass="entr" presetSubtype="0" fill="hold" nodeType="afterEffect">
                                      <p:stCondLst>
                                        <p:cond delay="0"/>
                                      </p:stCondLst>
                                      <p:childTnLst>
                                        <p:set>
                                          <p:cBhvr>
                                            <p:cTn id="9"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accel="40000" fill="hold" nodeType="withEffect">
                                      <p:stCondLst>
                                        <p:cond delay="0"/>
                                      </p:stCondLst>
                                      <p:childTnLst>
                                        <p:animRot by="21600000">
                                          <p:cBhvr>
                                            <p:cTn id="6" dur="1000" fill="hold"/>
                                            <p:tgtEl>
                                              <p:spTgt spid="40"/>
                                            </p:tgtEl>
                                            <p:attrNameLst>
                                              <p:attrName>r</p:attrName>
                                            </p:attrNameLst>
                                          </p:cBhvr>
                                        </p:animRot>
                                      </p:childTnLst>
                                    </p:cTn>
                                  </p:par>
                                </p:childTnLst>
                              </p:cTn>
                            </p:par>
                            <p:par>
                              <p:cTn id="7" fill="hold">
                                <p:stCondLst>
                                  <p:cond delay="1000"/>
                                </p:stCondLst>
                                <p:childTnLst>
                                  <p:par>
                                    <p:cTn id="8" presetID="1" presetClass="entr" presetSubtype="0" fill="hold" nodeType="afterEffect">
                                      <p:stCondLst>
                                        <p:cond delay="0"/>
                                      </p:stCondLst>
                                      <p:childTnLst>
                                        <p:set>
                                          <p:cBhvr>
                                            <p:cTn id="9"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55708E9D-7BF2-4D20-8134-5013CD660EC5}"/>
              </a:ext>
            </a:extLst>
          </p:cNvPr>
          <p:cNvSpPr/>
          <p:nvPr/>
        </p:nvSpPr>
        <p:spPr>
          <a:xfrm>
            <a:off x="932873" y="2013412"/>
            <a:ext cx="4628340" cy="2771999"/>
          </a:xfrm>
          <a:prstGeom prst="roundRect">
            <a:avLst/>
          </a:prstGeom>
          <a:solidFill>
            <a:srgbClr val="F3B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pic>
        <p:nvPicPr>
          <p:cNvPr id="32" name="Picture 31">
            <a:extLst>
              <a:ext uri="{FF2B5EF4-FFF2-40B4-BE49-F238E27FC236}">
                <a16:creationId xmlns:a16="http://schemas.microsoft.com/office/drawing/2014/main" id="{8C5C7F1B-59B0-42CB-A6F4-E75888461226}"/>
              </a:ext>
            </a:extLst>
          </p:cNvPr>
          <p:cNvPicPr>
            <a:picLocks noChangeAspect="1"/>
          </p:cNvPicPr>
          <p:nvPr/>
        </p:nvPicPr>
        <p:blipFill>
          <a:blip r:embed="rId3"/>
          <a:stretch>
            <a:fillRect/>
          </a:stretch>
        </p:blipFill>
        <p:spPr>
          <a:xfrm>
            <a:off x="1232013" y="2197655"/>
            <a:ext cx="4030062" cy="2401890"/>
          </a:xfrm>
          <a:prstGeom prst="rect">
            <a:avLst/>
          </a:prstGeom>
          <a:ln w="28575">
            <a:solidFill>
              <a:schemeClr val="tx1"/>
            </a:solidFill>
          </a:ln>
        </p:spPr>
      </p:pic>
      <p:grpSp>
        <p:nvGrpSpPr>
          <p:cNvPr id="35" name="Group 34">
            <a:extLst>
              <a:ext uri="{FF2B5EF4-FFF2-40B4-BE49-F238E27FC236}">
                <a16:creationId xmlns:a16="http://schemas.microsoft.com/office/drawing/2014/main" id="{FD461423-B7E5-4F58-9F7F-57D66AE665F6}"/>
              </a:ext>
            </a:extLst>
          </p:cNvPr>
          <p:cNvGrpSpPr/>
          <p:nvPr/>
        </p:nvGrpSpPr>
        <p:grpSpPr>
          <a:xfrm>
            <a:off x="4509844" y="1288170"/>
            <a:ext cx="6171344" cy="4478688"/>
            <a:chOff x="4509844" y="1288170"/>
            <a:chExt cx="6171344" cy="4478688"/>
          </a:xfrm>
        </p:grpSpPr>
        <p:pic>
          <p:nvPicPr>
            <p:cNvPr id="34" name="Graphic 33">
              <a:extLst>
                <a:ext uri="{FF2B5EF4-FFF2-40B4-BE49-F238E27FC236}">
                  <a16:creationId xmlns:a16="http://schemas.microsoft.com/office/drawing/2014/main" id="{4461C716-6DE5-4A0C-8AC8-B1C25D5924B8}"/>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13577"/>
            <a:stretch/>
          </p:blipFill>
          <p:spPr>
            <a:xfrm>
              <a:off x="7026395" y="1288170"/>
              <a:ext cx="3654793" cy="3948224"/>
            </a:xfrm>
            <a:prstGeom prst="rect">
              <a:avLst/>
            </a:prstGeom>
          </p:spPr>
        </p:pic>
        <p:pic>
          <p:nvPicPr>
            <p:cNvPr id="52" name="Graphic 51">
              <a:extLst>
                <a:ext uri="{FF2B5EF4-FFF2-40B4-BE49-F238E27FC236}">
                  <a16:creationId xmlns:a16="http://schemas.microsoft.com/office/drawing/2014/main" id="{347BDF60-CA7C-4128-BFA5-7127CF12E030}"/>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2472" t="13101" r="28" b="36217"/>
            <a:stretch/>
          </p:blipFill>
          <p:spPr>
            <a:xfrm rot="9732610" flipH="1">
              <a:off x="6898385" y="4934681"/>
              <a:ext cx="1071562" cy="603425"/>
            </a:xfrm>
            <a:prstGeom prst="rect">
              <a:avLst/>
            </a:prstGeom>
          </p:spPr>
        </p:pic>
        <p:sp>
          <p:nvSpPr>
            <p:cNvPr id="53" name="TextBox 52">
              <a:extLst>
                <a:ext uri="{FF2B5EF4-FFF2-40B4-BE49-F238E27FC236}">
                  <a16:creationId xmlns:a16="http://schemas.microsoft.com/office/drawing/2014/main" id="{CAC9AD11-8D28-42F1-8D1E-18859EA66677}"/>
                </a:ext>
              </a:extLst>
            </p:cNvPr>
            <p:cNvSpPr txBox="1"/>
            <p:nvPr/>
          </p:nvSpPr>
          <p:spPr>
            <a:xfrm rot="21264721">
              <a:off x="4509844" y="5243638"/>
              <a:ext cx="3451374" cy="523220"/>
            </a:xfrm>
            <a:prstGeom prst="rect">
              <a:avLst/>
            </a:prstGeom>
            <a:noFill/>
          </p:spPr>
          <p:txBody>
            <a:bodyPr wrap="square" rtlCol="0">
              <a:spAutoFit/>
            </a:bodyPr>
            <a:lstStyle/>
            <a:p>
              <a:pPr algn="ctr"/>
              <a:r>
                <a:rPr lang="en-US" sz="2800" dirty="0">
                  <a:solidFill>
                    <a:schemeClr val="bg1"/>
                  </a:solidFill>
                  <a:latin typeface="Quicksand Bold" pitchFamily="50" charset="0"/>
                </a:rPr>
                <a:t>HOMEBO</a:t>
              </a:r>
              <a:endParaRPr lang="en-SG" sz="2800" dirty="0">
                <a:solidFill>
                  <a:schemeClr val="bg1"/>
                </a:solidFill>
                <a:latin typeface="Quicksand Bold" pitchFamily="50" charset="0"/>
              </a:endParaRPr>
            </a:p>
          </p:txBody>
        </p:sp>
      </p:grpSp>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pic>
        <p:nvPicPr>
          <p:cNvPr id="42" name="Graphic 41">
            <a:extLst>
              <a:ext uri="{FF2B5EF4-FFF2-40B4-BE49-F238E27FC236}">
                <a16:creationId xmlns:a16="http://schemas.microsoft.com/office/drawing/2014/main" id="{E3F18835-E8B0-480F-8C53-73D65D265D0A}"/>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r="-509" b="23542"/>
          <a:stretch/>
        </p:blipFill>
        <p:spPr>
          <a:xfrm>
            <a:off x="9162137" y="1052577"/>
            <a:ext cx="1219200" cy="1159324"/>
          </a:xfrm>
          <a:prstGeom prst="rect">
            <a:avLst/>
          </a:prstGeom>
        </p:spPr>
      </p:pic>
      <p:grpSp>
        <p:nvGrpSpPr>
          <p:cNvPr id="43" name="Group 42">
            <a:extLst>
              <a:ext uri="{FF2B5EF4-FFF2-40B4-BE49-F238E27FC236}">
                <a16:creationId xmlns:a16="http://schemas.microsoft.com/office/drawing/2014/main" id="{6C350F62-7E08-4E55-B3C6-F39260B58FAB}"/>
              </a:ext>
            </a:extLst>
          </p:cNvPr>
          <p:cNvGrpSpPr/>
          <p:nvPr/>
        </p:nvGrpSpPr>
        <p:grpSpPr>
          <a:xfrm>
            <a:off x="9816803" y="1669256"/>
            <a:ext cx="287419" cy="287419"/>
            <a:chOff x="8611703" y="3477061"/>
            <a:chExt cx="642938" cy="642938"/>
          </a:xfrm>
        </p:grpSpPr>
        <p:pic>
          <p:nvPicPr>
            <p:cNvPr id="50" name="Graphic 49">
              <a:extLst>
                <a:ext uri="{FF2B5EF4-FFF2-40B4-BE49-F238E27FC236}">
                  <a16:creationId xmlns:a16="http://schemas.microsoft.com/office/drawing/2014/main" id="{BF11197F-A6FC-43D4-A7F1-5DAE91A5074D}"/>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55147" t="7303" r="17721" b="70266"/>
            <a:stretch/>
          </p:blipFill>
          <p:spPr>
            <a:xfrm>
              <a:off x="8668855" y="3528309"/>
              <a:ext cx="532295" cy="543629"/>
            </a:xfrm>
            <a:prstGeom prst="rect">
              <a:avLst/>
            </a:prstGeom>
          </p:spPr>
        </p:pic>
        <p:sp>
          <p:nvSpPr>
            <p:cNvPr id="51" name="Rectangle 50">
              <a:extLst>
                <a:ext uri="{FF2B5EF4-FFF2-40B4-BE49-F238E27FC236}">
                  <a16:creationId xmlns:a16="http://schemas.microsoft.com/office/drawing/2014/main" id="{65B099E7-83ED-4001-8EBE-ECFA7D866633}"/>
                </a:ext>
              </a:extLst>
            </p:cNvPr>
            <p:cNvSpPr/>
            <p:nvPr/>
          </p:nvSpPr>
          <p:spPr>
            <a:xfrm>
              <a:off x="8611703" y="3477061"/>
              <a:ext cx="642938" cy="64293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45" name="Group 44">
            <a:extLst>
              <a:ext uri="{FF2B5EF4-FFF2-40B4-BE49-F238E27FC236}">
                <a16:creationId xmlns:a16="http://schemas.microsoft.com/office/drawing/2014/main" id="{A00926A9-D72B-4021-A1A8-B0A13996E878}"/>
              </a:ext>
            </a:extLst>
          </p:cNvPr>
          <p:cNvGrpSpPr/>
          <p:nvPr/>
        </p:nvGrpSpPr>
        <p:grpSpPr>
          <a:xfrm>
            <a:off x="9429045" y="1663418"/>
            <a:ext cx="287419" cy="287419"/>
            <a:chOff x="8453722" y="2748961"/>
            <a:chExt cx="523439" cy="523439"/>
          </a:xfrm>
        </p:grpSpPr>
        <p:pic>
          <p:nvPicPr>
            <p:cNvPr id="46" name="Graphic 45">
              <a:extLst>
                <a:ext uri="{FF2B5EF4-FFF2-40B4-BE49-F238E27FC236}">
                  <a16:creationId xmlns:a16="http://schemas.microsoft.com/office/drawing/2014/main" id="{1A8D184B-299B-44D5-AB08-90F0736B1BF8}"/>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53569" t="7198" r="15603" b="69353"/>
            <a:stretch/>
          </p:blipFill>
          <p:spPr>
            <a:xfrm>
              <a:off x="8479915" y="2788089"/>
              <a:ext cx="471054" cy="442588"/>
            </a:xfrm>
            <a:prstGeom prst="rect">
              <a:avLst/>
            </a:prstGeom>
          </p:spPr>
        </p:pic>
        <p:sp>
          <p:nvSpPr>
            <p:cNvPr id="48" name="Rectangle 47">
              <a:extLst>
                <a:ext uri="{FF2B5EF4-FFF2-40B4-BE49-F238E27FC236}">
                  <a16:creationId xmlns:a16="http://schemas.microsoft.com/office/drawing/2014/main" id="{64728C88-74C9-457C-9E67-CAF1DC6CF51F}"/>
                </a:ext>
              </a:extLst>
            </p:cNvPr>
            <p:cNvSpPr/>
            <p:nvPr/>
          </p:nvSpPr>
          <p:spPr>
            <a:xfrm>
              <a:off x="8453722" y="2748961"/>
              <a:ext cx="523439" cy="52343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2" name="Group 1">
            <a:extLst>
              <a:ext uri="{FF2B5EF4-FFF2-40B4-BE49-F238E27FC236}">
                <a16:creationId xmlns:a16="http://schemas.microsoft.com/office/drawing/2014/main" id="{57EB5AB5-1B05-498B-8F45-F387BF60CFC7}"/>
              </a:ext>
            </a:extLst>
          </p:cNvPr>
          <p:cNvGrpSpPr/>
          <p:nvPr/>
        </p:nvGrpSpPr>
        <p:grpSpPr>
          <a:xfrm>
            <a:off x="2207318" y="-627321"/>
            <a:ext cx="1438193" cy="2498650"/>
            <a:chOff x="2207318" y="-627321"/>
            <a:chExt cx="1438193" cy="2498650"/>
          </a:xfrm>
        </p:grpSpPr>
        <p:sp>
          <p:nvSpPr>
            <p:cNvPr id="39" name="Oval 38">
              <a:extLst>
                <a:ext uri="{FF2B5EF4-FFF2-40B4-BE49-F238E27FC236}">
                  <a16:creationId xmlns:a16="http://schemas.microsoft.com/office/drawing/2014/main" id="{AD1D3158-DB99-4315-AC17-5F95BBA46F1F}"/>
                </a:ext>
              </a:extLst>
            </p:cNvPr>
            <p:cNvSpPr/>
            <p:nvPr/>
          </p:nvSpPr>
          <p:spPr>
            <a:xfrm>
              <a:off x="2207318" y="433136"/>
              <a:ext cx="1438193" cy="1438193"/>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nvGrpSpPr>
            <p:cNvPr id="40" name="Group 39">
              <a:extLst>
                <a:ext uri="{FF2B5EF4-FFF2-40B4-BE49-F238E27FC236}">
                  <a16:creationId xmlns:a16="http://schemas.microsoft.com/office/drawing/2014/main" id="{F3BCE369-0576-41F6-BD27-BAEF1834D760}"/>
                </a:ext>
              </a:extLst>
            </p:cNvPr>
            <p:cNvGrpSpPr/>
            <p:nvPr/>
          </p:nvGrpSpPr>
          <p:grpSpPr>
            <a:xfrm>
              <a:off x="2912014" y="621590"/>
              <a:ext cx="4897" cy="1068492"/>
              <a:chOff x="6292898" y="621590"/>
              <a:chExt cx="4897" cy="1068492"/>
            </a:xfrm>
          </p:grpSpPr>
          <p:cxnSp>
            <p:nvCxnSpPr>
              <p:cNvPr id="49" name="Straight Connector 48">
                <a:extLst>
                  <a:ext uri="{FF2B5EF4-FFF2-40B4-BE49-F238E27FC236}">
                    <a16:creationId xmlns:a16="http://schemas.microsoft.com/office/drawing/2014/main" id="{8A327EB4-75F9-47C7-9457-F2E3A7629579}"/>
                  </a:ext>
                </a:extLst>
              </p:cNvPr>
              <p:cNvCxnSpPr/>
              <p:nvPr/>
            </p:nvCxnSpPr>
            <p:spPr>
              <a:xfrm>
                <a:off x="6292898" y="1141599"/>
                <a:ext cx="0" cy="548483"/>
              </a:xfrm>
              <a:prstGeom prst="line">
                <a:avLst/>
              </a:prstGeom>
              <a:ln/>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7DC6E8C4-F8B9-434D-8EE3-839D82DEC5E4}"/>
                  </a:ext>
                </a:extLst>
              </p:cNvPr>
              <p:cNvCxnSpPr/>
              <p:nvPr/>
            </p:nvCxnSpPr>
            <p:spPr>
              <a:xfrm>
                <a:off x="6297795" y="621590"/>
                <a:ext cx="0" cy="54848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44" name="Straight Connector 43">
              <a:extLst>
                <a:ext uri="{FF2B5EF4-FFF2-40B4-BE49-F238E27FC236}">
                  <a16:creationId xmlns:a16="http://schemas.microsoft.com/office/drawing/2014/main" id="{E884498C-6253-444E-B68F-DFD42EBABAC8}"/>
                </a:ext>
              </a:extLst>
            </p:cNvPr>
            <p:cNvCxnSpPr>
              <a:cxnSpLocks/>
            </p:cNvCxnSpPr>
            <p:nvPr/>
          </p:nvCxnSpPr>
          <p:spPr>
            <a:xfrm>
              <a:off x="2906278" y="1162865"/>
              <a:ext cx="467495" cy="30927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2787A18-5DF7-4362-AE05-B77C049E0E0A}"/>
                </a:ext>
              </a:extLst>
            </p:cNvPr>
            <p:cNvCxnSpPr>
              <a:cxnSpLocks/>
              <a:stCxn id="39" idx="0"/>
            </p:cNvCxnSpPr>
            <p:nvPr/>
          </p:nvCxnSpPr>
          <p:spPr>
            <a:xfrm flipV="1">
              <a:off x="2926415" y="-627321"/>
              <a:ext cx="0" cy="106045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4" name="Graphic 3">
            <a:extLst>
              <a:ext uri="{FF2B5EF4-FFF2-40B4-BE49-F238E27FC236}">
                <a16:creationId xmlns:a16="http://schemas.microsoft.com/office/drawing/2014/main" id="{14E654F3-4FA2-4E14-B4EE-9693E1D01A60}"/>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b="19191"/>
          <a:stretch/>
        </p:blipFill>
        <p:spPr>
          <a:xfrm>
            <a:off x="7953469" y="3908445"/>
            <a:ext cx="765657" cy="773402"/>
          </a:xfrm>
          <a:prstGeom prst="rect">
            <a:avLst/>
          </a:prstGeom>
        </p:spPr>
      </p:pic>
      <p:cxnSp>
        <p:nvCxnSpPr>
          <p:cNvPr id="5" name="Straight Connector 4">
            <a:extLst>
              <a:ext uri="{FF2B5EF4-FFF2-40B4-BE49-F238E27FC236}">
                <a16:creationId xmlns:a16="http://schemas.microsoft.com/office/drawing/2014/main" id="{6F06FF55-02CB-4550-AE34-C0FDDB5C79F0}"/>
              </a:ext>
            </a:extLst>
          </p:cNvPr>
          <p:cNvCxnSpPr/>
          <p:nvPr/>
        </p:nvCxnSpPr>
        <p:spPr>
          <a:xfrm flipH="1" flipV="1">
            <a:off x="5714222" y="2635010"/>
            <a:ext cx="1117600" cy="267854"/>
          </a:xfrm>
          <a:prstGeom prst="line">
            <a:avLst/>
          </a:prstGeom>
          <a:ln w="38100">
            <a:solidFill>
              <a:srgbClr val="F3B08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9CBA609-7378-4695-9945-39789E0ADA74}"/>
              </a:ext>
            </a:extLst>
          </p:cNvPr>
          <p:cNvCxnSpPr>
            <a:cxnSpLocks/>
          </p:cNvCxnSpPr>
          <p:nvPr/>
        </p:nvCxnSpPr>
        <p:spPr>
          <a:xfrm flipH="1">
            <a:off x="5755786" y="3896088"/>
            <a:ext cx="1076036" cy="386701"/>
          </a:xfrm>
          <a:prstGeom prst="line">
            <a:avLst/>
          </a:prstGeom>
          <a:ln w="38100">
            <a:solidFill>
              <a:srgbClr val="F3B082"/>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FD9F0936-0F32-4204-BAD8-5672846498DD}"/>
              </a:ext>
            </a:extLst>
          </p:cNvPr>
          <p:cNvPicPr>
            <a:picLocks noChangeAspect="1"/>
          </p:cNvPicPr>
          <p:nvPr/>
        </p:nvPicPr>
        <p:blipFill rotWithShape="1">
          <a:blip r:embed="rId17"/>
          <a:srcRect l="61337" t="69431" r="28258" b="20861"/>
          <a:stretch/>
        </p:blipFill>
        <p:spPr>
          <a:xfrm>
            <a:off x="4382947" y="4018750"/>
            <a:ext cx="673636" cy="353538"/>
          </a:xfrm>
          <a:prstGeom prst="rect">
            <a:avLst/>
          </a:prstGeom>
        </p:spPr>
      </p:pic>
      <p:grpSp>
        <p:nvGrpSpPr>
          <p:cNvPr id="55" name="Group 54">
            <a:extLst>
              <a:ext uri="{FF2B5EF4-FFF2-40B4-BE49-F238E27FC236}">
                <a16:creationId xmlns:a16="http://schemas.microsoft.com/office/drawing/2014/main" id="{4F98A41D-D18E-48A5-9654-0DE5C569E90A}"/>
              </a:ext>
            </a:extLst>
          </p:cNvPr>
          <p:cNvGrpSpPr/>
          <p:nvPr/>
        </p:nvGrpSpPr>
        <p:grpSpPr>
          <a:xfrm>
            <a:off x="9815897" y="1668348"/>
            <a:ext cx="287419" cy="287419"/>
            <a:chOff x="8611703" y="3477061"/>
            <a:chExt cx="642938" cy="642938"/>
          </a:xfrm>
        </p:grpSpPr>
        <p:pic>
          <p:nvPicPr>
            <p:cNvPr id="56" name="Graphic 55">
              <a:extLst>
                <a:ext uri="{FF2B5EF4-FFF2-40B4-BE49-F238E27FC236}">
                  <a16:creationId xmlns:a16="http://schemas.microsoft.com/office/drawing/2014/main" id="{E0E03828-3CA4-4366-B124-2F99ACA219F0}"/>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55147" t="7303" r="17721" b="70266"/>
            <a:stretch/>
          </p:blipFill>
          <p:spPr>
            <a:xfrm>
              <a:off x="8668855" y="3528309"/>
              <a:ext cx="532295" cy="543629"/>
            </a:xfrm>
            <a:prstGeom prst="rect">
              <a:avLst/>
            </a:prstGeom>
          </p:spPr>
        </p:pic>
        <p:sp>
          <p:nvSpPr>
            <p:cNvPr id="57" name="Rectangle 56">
              <a:extLst>
                <a:ext uri="{FF2B5EF4-FFF2-40B4-BE49-F238E27FC236}">
                  <a16:creationId xmlns:a16="http://schemas.microsoft.com/office/drawing/2014/main" id="{C8BBA3D6-C037-4E43-BF1D-E5534B1382EE}"/>
                </a:ext>
              </a:extLst>
            </p:cNvPr>
            <p:cNvSpPr/>
            <p:nvPr/>
          </p:nvSpPr>
          <p:spPr>
            <a:xfrm>
              <a:off x="8611703" y="3477061"/>
              <a:ext cx="642938" cy="64293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spTree>
    <p:extLst>
      <p:ext uri="{BB962C8B-B14F-4D97-AF65-F5344CB8AC3E}">
        <p14:creationId xmlns:p14="http://schemas.microsoft.com/office/powerpoint/2010/main" val="4245533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1" accel="60000" fill="hold" nodeType="withEffect">
                                  <p:stCondLst>
                                    <p:cond delay="0"/>
                                  </p:stCondLst>
                                  <p:childTnLst>
                                    <p:anim calcmode="lin" valueType="num">
                                      <p:cBhvr additive="base">
                                        <p:cTn id="6" dur="500"/>
                                        <p:tgtEl>
                                          <p:spTgt spid="2"/>
                                        </p:tgtEl>
                                        <p:attrNameLst>
                                          <p:attrName>ppt_x</p:attrName>
                                        </p:attrNameLst>
                                      </p:cBhvr>
                                      <p:tavLst>
                                        <p:tav tm="0">
                                          <p:val>
                                            <p:strVal val="ppt_x"/>
                                          </p:val>
                                        </p:tav>
                                        <p:tav tm="100000">
                                          <p:val>
                                            <p:strVal val="ppt_x"/>
                                          </p:val>
                                        </p:tav>
                                      </p:tavLst>
                                    </p:anim>
                                    <p:anim calcmode="lin" valueType="num">
                                      <p:cBhvr additive="base">
                                        <p:cTn id="7" dur="500"/>
                                        <p:tgtEl>
                                          <p:spTgt spid="2"/>
                                        </p:tgtEl>
                                        <p:attrNameLst>
                                          <p:attrName>ppt_y</p:attrName>
                                        </p:attrNameLst>
                                      </p:cBhvr>
                                      <p:tavLst>
                                        <p:tav tm="0">
                                          <p:val>
                                            <p:strVal val="ppt_y"/>
                                          </p:val>
                                        </p:tav>
                                        <p:tav tm="100000">
                                          <p:val>
                                            <p:strVal val="0-ppt_h/2"/>
                                          </p:val>
                                        </p:tav>
                                      </p:tavLst>
                                    </p:anim>
                                    <p:set>
                                      <p:cBhvr>
                                        <p:cTn id="8" dur="1" fill="hold">
                                          <p:stCondLst>
                                            <p:cond delay="499"/>
                                          </p:stCondLst>
                                        </p:cTn>
                                        <p:tgtEl>
                                          <p:spTgt spid="2"/>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par>
                                <p:cTn id="14" presetID="10" presetClass="entr" presetSubtype="0" fill="hold"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10" presetClass="entr" presetSubtype="0" fill="hold" nodeType="with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par>
                                <p:cTn id="20" presetID="10" presetClass="entr" presetSubtype="0" fill="hold" nodeType="with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500"/>
                                        <p:tgtEl>
                                          <p:spTgt spid="32"/>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xit" presetSubtype="0" fill="hold" nodeType="withEffect">
                                  <p:stCondLst>
                                    <p:cond delay="0"/>
                                  </p:stCondLst>
                                  <p:childTnLst>
                                    <p:set>
                                      <p:cBhvr>
                                        <p:cTn id="28" dur="1" fill="hold">
                                          <p:stCondLst>
                                            <p:cond delay="0"/>
                                          </p:stCondLst>
                                        </p:cTn>
                                        <p:tgtEl>
                                          <p:spTgt spid="4"/>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20"/>
                                        </p:tgtEl>
                                        <p:attrNameLst>
                                          <p:attrName>style.visibility</p:attrName>
                                        </p:attrNameLst>
                                      </p:cBhvr>
                                      <p:to>
                                        <p:strVal val="hidden"/>
                                      </p:to>
                                    </p:set>
                                  </p:childTnLst>
                                </p:cTn>
                              </p:par>
                              <p:par>
                                <p:cTn id="33" presetID="1" presetClass="entr" presetSubtype="0" fill="hold" nodeType="withEffect">
                                  <p:stCondLst>
                                    <p:cond delay="0"/>
                                  </p:stCondLst>
                                  <p:childTnLst>
                                    <p:set>
                                      <p:cBhvr>
                                        <p:cTn id="34" dur="1" fill="hold">
                                          <p:stCondLst>
                                            <p:cond delay="0"/>
                                          </p:stCondLst>
                                        </p:cTn>
                                        <p:tgtEl>
                                          <p:spTgt spid="55"/>
                                        </p:tgtEl>
                                        <p:attrNameLst>
                                          <p:attrName>style.visibility</p:attrName>
                                        </p:attrNameLst>
                                      </p:cBhvr>
                                      <p:to>
                                        <p:strVal val="visible"/>
                                      </p:to>
                                    </p:set>
                                  </p:childTnLst>
                                </p:cTn>
                              </p:par>
                              <p:par>
                                <p:cTn id="35" presetID="42" presetClass="path" presetSubtype="0" accel="50000" decel="50000" fill="hold" nodeType="withEffect">
                                  <p:stCondLst>
                                    <p:cond delay="0"/>
                                  </p:stCondLst>
                                  <p:childTnLst>
                                    <p:animMotion origin="layout" path="M 3.125E-6 -3.7037E-7 L -0.01784 0.35046 " pathEditMode="relative" rAng="0" ptsTypes="AA">
                                      <p:cBhvr>
                                        <p:cTn id="36" dur="1000" fill="hold"/>
                                        <p:tgtEl>
                                          <p:spTgt spid="55"/>
                                        </p:tgtEl>
                                        <p:attrNameLst>
                                          <p:attrName>ppt_x</p:attrName>
                                          <p:attrName>ppt_y</p:attrName>
                                        </p:attrNameLst>
                                      </p:cBhvr>
                                      <p:rCtr x="-898" y="175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68A64179-AC93-4F90-9F36-BAB9A5E9AF42}"/>
              </a:ext>
            </a:extLst>
          </p:cNvPr>
          <p:cNvGrpSpPr/>
          <p:nvPr/>
        </p:nvGrpSpPr>
        <p:grpSpPr>
          <a:xfrm>
            <a:off x="-929136" y="1256007"/>
            <a:ext cx="13682377" cy="6075861"/>
            <a:chOff x="-929136" y="1256007"/>
            <a:chExt cx="13682377" cy="6075861"/>
          </a:xfrm>
        </p:grpSpPr>
        <p:pic>
          <p:nvPicPr>
            <p:cNvPr id="10" name="Graphic 9">
              <a:extLst>
                <a:ext uri="{FF2B5EF4-FFF2-40B4-BE49-F238E27FC236}">
                  <a16:creationId xmlns:a16="http://schemas.microsoft.com/office/drawing/2014/main" id="{5D189F3B-5F33-4EC1-9647-1A367FA753D5}"/>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27384" r="28815" b="21090"/>
            <a:stretch/>
          </p:blipFill>
          <p:spPr>
            <a:xfrm rot="16863622">
              <a:off x="2874122" y="-2547251"/>
              <a:ext cx="6075861" cy="13682377"/>
            </a:xfrm>
            <a:prstGeom prst="rect">
              <a:avLst/>
            </a:prstGeom>
          </p:spPr>
        </p:pic>
        <p:sp>
          <p:nvSpPr>
            <p:cNvPr id="28" name="TextBox 27">
              <a:extLst>
                <a:ext uri="{FF2B5EF4-FFF2-40B4-BE49-F238E27FC236}">
                  <a16:creationId xmlns:a16="http://schemas.microsoft.com/office/drawing/2014/main" id="{9E256B42-2757-4581-91B8-2C7A477CFCE8}"/>
                </a:ext>
              </a:extLst>
            </p:cNvPr>
            <p:cNvSpPr txBox="1"/>
            <p:nvPr/>
          </p:nvSpPr>
          <p:spPr>
            <a:xfrm rot="3529887">
              <a:off x="10306127" y="2987259"/>
              <a:ext cx="1629418" cy="1569660"/>
            </a:xfrm>
            <a:prstGeom prst="rect">
              <a:avLst/>
            </a:prstGeom>
            <a:noFill/>
          </p:spPr>
          <p:txBody>
            <a:bodyPr wrap="square" rtlCol="0">
              <a:spAutoFit/>
            </a:bodyPr>
            <a:lstStyle/>
            <a:p>
              <a:r>
                <a:rPr lang="en-SG" sz="9600" dirty="0">
                  <a:latin typeface="Bebas Neue" panose="020B0606020202050201" pitchFamily="34" charset="0"/>
                </a:rPr>
                <a:t>!</a:t>
              </a:r>
            </a:p>
          </p:txBody>
        </p:sp>
      </p:grpSp>
      <p:grpSp>
        <p:nvGrpSpPr>
          <p:cNvPr id="11" name="Group 10">
            <a:extLst>
              <a:ext uri="{FF2B5EF4-FFF2-40B4-BE49-F238E27FC236}">
                <a16:creationId xmlns:a16="http://schemas.microsoft.com/office/drawing/2014/main" id="{34337DFE-3F29-4A89-B6AA-210961DD96B0}"/>
              </a:ext>
            </a:extLst>
          </p:cNvPr>
          <p:cNvGrpSpPr/>
          <p:nvPr/>
        </p:nvGrpSpPr>
        <p:grpSpPr>
          <a:xfrm rot="749708">
            <a:off x="1995527" y="3284300"/>
            <a:ext cx="2189586" cy="2450229"/>
            <a:chOff x="500313" y="1328681"/>
            <a:chExt cx="2969520" cy="3323008"/>
          </a:xfrm>
        </p:grpSpPr>
        <p:pic>
          <p:nvPicPr>
            <p:cNvPr id="6" name="Graphic 5">
              <a:extLst>
                <a:ext uri="{FF2B5EF4-FFF2-40B4-BE49-F238E27FC236}">
                  <a16:creationId xmlns:a16="http://schemas.microsoft.com/office/drawing/2014/main" id="{CC9D2C40-D8C0-49A5-8A25-BDD6367E13AF}"/>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b="15793"/>
            <a:stretch/>
          </p:blipFill>
          <p:spPr>
            <a:xfrm>
              <a:off x="500313" y="1328681"/>
              <a:ext cx="2969520" cy="3125680"/>
            </a:xfrm>
            <a:prstGeom prst="rect">
              <a:avLst/>
            </a:prstGeom>
          </p:spPr>
        </p:pic>
        <p:sp>
          <p:nvSpPr>
            <p:cNvPr id="8" name="TextBox 7">
              <a:extLst>
                <a:ext uri="{FF2B5EF4-FFF2-40B4-BE49-F238E27FC236}">
                  <a16:creationId xmlns:a16="http://schemas.microsoft.com/office/drawing/2014/main" id="{758018F1-45AB-4903-8BA1-336A0C1BDC41}"/>
                </a:ext>
              </a:extLst>
            </p:cNvPr>
            <p:cNvSpPr txBox="1"/>
            <p:nvPr/>
          </p:nvSpPr>
          <p:spPr>
            <a:xfrm>
              <a:off x="547515" y="4150800"/>
              <a:ext cx="2861128" cy="500889"/>
            </a:xfrm>
            <a:prstGeom prst="rect">
              <a:avLst/>
            </a:prstGeom>
            <a:noFill/>
          </p:spPr>
          <p:txBody>
            <a:bodyPr wrap="square" rtlCol="0">
              <a:spAutoFit/>
            </a:bodyPr>
            <a:lstStyle/>
            <a:p>
              <a:pPr algn="ctr"/>
              <a:r>
                <a:rPr lang="en-SG" dirty="0">
                  <a:solidFill>
                    <a:schemeClr val="bg1"/>
                  </a:solidFill>
                  <a:latin typeface="Quicksand Bold" pitchFamily="50" charset="0"/>
                </a:rPr>
                <a:t>Labour intensive</a:t>
              </a:r>
            </a:p>
          </p:txBody>
        </p:sp>
      </p:grpSp>
      <p:cxnSp>
        <p:nvCxnSpPr>
          <p:cNvPr id="7" name="Straight Connector 6">
            <a:extLst>
              <a:ext uri="{FF2B5EF4-FFF2-40B4-BE49-F238E27FC236}">
                <a16:creationId xmlns:a16="http://schemas.microsoft.com/office/drawing/2014/main" id="{DD040654-F6BA-4A88-8938-99D83A505C9D}"/>
              </a:ext>
            </a:extLst>
          </p:cNvPr>
          <p:cNvCxnSpPr>
            <a:cxnSpLocks/>
          </p:cNvCxnSpPr>
          <p:nvPr/>
        </p:nvCxnSpPr>
        <p:spPr>
          <a:xfrm>
            <a:off x="4361647" y="3429000"/>
            <a:ext cx="135918" cy="2146294"/>
          </a:xfrm>
          <a:prstGeom prst="line">
            <a:avLst/>
          </a:prstGeom>
          <a:ln w="19050">
            <a:solidFill>
              <a:schemeClr val="bg1"/>
            </a:solidFill>
            <a:prstDash val="lgDash"/>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0B5AD4CA-5788-4CB1-A2FE-3744EBD6A43C}"/>
              </a:ext>
            </a:extLst>
          </p:cNvPr>
          <p:cNvGrpSpPr/>
          <p:nvPr/>
        </p:nvGrpSpPr>
        <p:grpSpPr>
          <a:xfrm rot="21325785">
            <a:off x="4815560" y="3223180"/>
            <a:ext cx="2192983" cy="2141514"/>
            <a:chOff x="4034042" y="3018497"/>
            <a:chExt cx="2353820" cy="2298576"/>
          </a:xfrm>
        </p:grpSpPr>
        <p:pic>
          <p:nvPicPr>
            <p:cNvPr id="16" name="Graphic 15">
              <a:extLst>
                <a:ext uri="{FF2B5EF4-FFF2-40B4-BE49-F238E27FC236}">
                  <a16:creationId xmlns:a16="http://schemas.microsoft.com/office/drawing/2014/main" id="{C2CD2BEF-9A33-41F5-89A4-7B37BE996264}"/>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5503"/>
            <a:stretch/>
          </p:blipFill>
          <p:spPr>
            <a:xfrm rot="20692386">
              <a:off x="4034042" y="3018497"/>
              <a:ext cx="1965987" cy="2076484"/>
            </a:xfrm>
            <a:prstGeom prst="rect">
              <a:avLst/>
            </a:prstGeom>
          </p:spPr>
        </p:pic>
        <p:sp>
          <p:nvSpPr>
            <p:cNvPr id="19" name="TextBox 18">
              <a:extLst>
                <a:ext uri="{FF2B5EF4-FFF2-40B4-BE49-F238E27FC236}">
                  <a16:creationId xmlns:a16="http://schemas.microsoft.com/office/drawing/2014/main" id="{5CE586D6-3FA0-42D5-AB7B-0BDC927C9E8D}"/>
                </a:ext>
              </a:extLst>
            </p:cNvPr>
            <p:cNvSpPr txBox="1"/>
            <p:nvPr/>
          </p:nvSpPr>
          <p:spPr>
            <a:xfrm rot="20670927">
              <a:off x="4278199" y="4887618"/>
              <a:ext cx="2109663" cy="429455"/>
            </a:xfrm>
            <a:prstGeom prst="rect">
              <a:avLst/>
            </a:prstGeom>
            <a:noFill/>
          </p:spPr>
          <p:txBody>
            <a:bodyPr wrap="square" rtlCol="0">
              <a:spAutoFit/>
            </a:bodyPr>
            <a:lstStyle/>
            <a:p>
              <a:pPr algn="ctr"/>
              <a:r>
                <a:rPr lang="en-SG" sz="2000" dirty="0">
                  <a:solidFill>
                    <a:schemeClr val="bg1"/>
                  </a:solidFill>
                  <a:latin typeface="Quicksand Bold" pitchFamily="50" charset="0"/>
                </a:rPr>
                <a:t>Manual</a:t>
              </a:r>
            </a:p>
          </p:txBody>
        </p:sp>
      </p:grpSp>
      <p:cxnSp>
        <p:nvCxnSpPr>
          <p:cNvPr id="23" name="Straight Connector 22">
            <a:extLst>
              <a:ext uri="{FF2B5EF4-FFF2-40B4-BE49-F238E27FC236}">
                <a16:creationId xmlns:a16="http://schemas.microsoft.com/office/drawing/2014/main" id="{3E4C2648-F43B-47FE-90C7-67846387DDE2}"/>
              </a:ext>
            </a:extLst>
          </p:cNvPr>
          <p:cNvCxnSpPr>
            <a:cxnSpLocks/>
          </p:cNvCxnSpPr>
          <p:nvPr/>
        </p:nvCxnSpPr>
        <p:spPr>
          <a:xfrm>
            <a:off x="6440019" y="2896490"/>
            <a:ext cx="796178" cy="1974239"/>
          </a:xfrm>
          <a:prstGeom prst="line">
            <a:avLst/>
          </a:prstGeom>
          <a:ln w="19050">
            <a:solidFill>
              <a:schemeClr val="bg1"/>
            </a:solidFill>
            <a:prstDash val="lgDash"/>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DA6DA347-8D61-4328-AC88-53F7AFCD175E}"/>
              </a:ext>
            </a:extLst>
          </p:cNvPr>
          <p:cNvGrpSpPr/>
          <p:nvPr/>
        </p:nvGrpSpPr>
        <p:grpSpPr>
          <a:xfrm>
            <a:off x="7304999" y="2791710"/>
            <a:ext cx="2024876" cy="1613549"/>
            <a:chOff x="7304999" y="2791710"/>
            <a:chExt cx="2024876" cy="1613549"/>
          </a:xfrm>
        </p:grpSpPr>
        <p:sp>
          <p:nvSpPr>
            <p:cNvPr id="22" name="TextBox 21">
              <a:extLst>
                <a:ext uri="{FF2B5EF4-FFF2-40B4-BE49-F238E27FC236}">
                  <a16:creationId xmlns:a16="http://schemas.microsoft.com/office/drawing/2014/main" id="{C148703B-4A71-438F-90A6-1CC9E0C3840A}"/>
                </a:ext>
              </a:extLst>
            </p:cNvPr>
            <p:cNvSpPr txBox="1"/>
            <p:nvPr/>
          </p:nvSpPr>
          <p:spPr>
            <a:xfrm rot="19933171">
              <a:off x="7364366" y="4005149"/>
              <a:ext cx="1965509" cy="400110"/>
            </a:xfrm>
            <a:prstGeom prst="rect">
              <a:avLst/>
            </a:prstGeom>
            <a:noFill/>
          </p:spPr>
          <p:txBody>
            <a:bodyPr wrap="square" rtlCol="0">
              <a:spAutoFit/>
            </a:bodyPr>
            <a:lstStyle/>
            <a:p>
              <a:pPr algn="ctr"/>
              <a:r>
                <a:rPr lang="en-SG" sz="2000" dirty="0">
                  <a:solidFill>
                    <a:schemeClr val="bg1"/>
                  </a:solidFill>
                  <a:latin typeface="Quicksand Bold" pitchFamily="50" charset="0"/>
                </a:rPr>
                <a:t>Error prone</a:t>
              </a:r>
            </a:p>
          </p:txBody>
        </p:sp>
        <p:pic>
          <p:nvPicPr>
            <p:cNvPr id="26" name="Graphic 25">
              <a:extLst>
                <a:ext uri="{FF2B5EF4-FFF2-40B4-BE49-F238E27FC236}">
                  <a16:creationId xmlns:a16="http://schemas.microsoft.com/office/drawing/2014/main" id="{015FF0BA-7579-4C57-9376-9FDAEF331DFA}"/>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1823"/>
            <a:stretch/>
          </p:blipFill>
          <p:spPr>
            <a:xfrm rot="20134267">
              <a:off x="7304999" y="2791710"/>
              <a:ext cx="1192566" cy="1314464"/>
            </a:xfrm>
            <a:prstGeom prst="rect">
              <a:avLst/>
            </a:prstGeom>
          </p:spPr>
        </p:pic>
      </p:grpSp>
      <p:sp>
        <p:nvSpPr>
          <p:cNvPr id="36" name="Rectangle 35">
            <a:extLst>
              <a:ext uri="{FF2B5EF4-FFF2-40B4-BE49-F238E27FC236}">
                <a16:creationId xmlns:a16="http://schemas.microsoft.com/office/drawing/2014/main" id="{5A8ECD63-9E9D-45E3-9402-A6A830E5DBDA}"/>
              </a:ext>
            </a:extLst>
          </p:cNvPr>
          <p:cNvSpPr/>
          <p:nvPr/>
        </p:nvSpPr>
        <p:spPr>
          <a:xfrm>
            <a:off x="0" y="0"/>
            <a:ext cx="12192000" cy="6858000"/>
          </a:xfrm>
          <a:prstGeom prst="rect">
            <a:avLst/>
          </a:prstGeom>
          <a:solidFill>
            <a:schemeClr val="tx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pic>
        <p:nvPicPr>
          <p:cNvPr id="37" name="Picture 2" descr="May be an image of text that says '3lAgytech Simplifying Engineering'">
            <a:extLst>
              <a:ext uri="{FF2B5EF4-FFF2-40B4-BE49-F238E27FC236}">
                <a16:creationId xmlns:a16="http://schemas.microsoft.com/office/drawing/2014/main" id="{46482D12-D779-4539-B598-4EF024B25AAB}"/>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grpSp>
        <p:nvGrpSpPr>
          <p:cNvPr id="52" name="Group 51">
            <a:extLst>
              <a:ext uri="{FF2B5EF4-FFF2-40B4-BE49-F238E27FC236}">
                <a16:creationId xmlns:a16="http://schemas.microsoft.com/office/drawing/2014/main" id="{6259F70B-F083-470E-8CF7-B63EF21048C4}"/>
              </a:ext>
            </a:extLst>
          </p:cNvPr>
          <p:cNvGrpSpPr/>
          <p:nvPr/>
        </p:nvGrpSpPr>
        <p:grpSpPr>
          <a:xfrm>
            <a:off x="-2331132" y="-5071265"/>
            <a:ext cx="15540109" cy="11008804"/>
            <a:chOff x="-2331132" y="-4579018"/>
            <a:chExt cx="15540109" cy="11008804"/>
          </a:xfrm>
        </p:grpSpPr>
        <p:pic>
          <p:nvPicPr>
            <p:cNvPr id="38" name="Graphic 37">
              <a:extLst>
                <a:ext uri="{FF2B5EF4-FFF2-40B4-BE49-F238E27FC236}">
                  <a16:creationId xmlns:a16="http://schemas.microsoft.com/office/drawing/2014/main" id="{A9EA8E2A-20C3-4FDD-85A1-58BAC0314699}"/>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t="37940" b="48344"/>
            <a:stretch/>
          </p:blipFill>
          <p:spPr>
            <a:xfrm>
              <a:off x="-2331132" y="-4579018"/>
              <a:ext cx="15540109" cy="11008804"/>
            </a:xfrm>
            <a:prstGeom prst="rect">
              <a:avLst/>
            </a:prstGeom>
          </p:spPr>
        </p:pic>
        <p:grpSp>
          <p:nvGrpSpPr>
            <p:cNvPr id="43" name="Group 42">
              <a:extLst>
                <a:ext uri="{FF2B5EF4-FFF2-40B4-BE49-F238E27FC236}">
                  <a16:creationId xmlns:a16="http://schemas.microsoft.com/office/drawing/2014/main" id="{8EF46087-A9D3-465C-BB0D-53D0D897712F}"/>
                </a:ext>
              </a:extLst>
            </p:cNvPr>
            <p:cNvGrpSpPr/>
            <p:nvPr/>
          </p:nvGrpSpPr>
          <p:grpSpPr>
            <a:xfrm rot="20928784">
              <a:off x="1683842" y="1006898"/>
              <a:ext cx="2674964" cy="2460018"/>
              <a:chOff x="1774804" y="702644"/>
              <a:chExt cx="2674964" cy="2460018"/>
            </a:xfrm>
          </p:grpSpPr>
          <p:pic>
            <p:nvPicPr>
              <p:cNvPr id="40" name="Graphic 39">
                <a:extLst>
                  <a:ext uri="{FF2B5EF4-FFF2-40B4-BE49-F238E27FC236}">
                    <a16:creationId xmlns:a16="http://schemas.microsoft.com/office/drawing/2014/main" id="{C794C2C8-7A51-4180-A8FC-3838402DCBE1}"/>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18719"/>
              <a:stretch/>
            </p:blipFill>
            <p:spPr>
              <a:xfrm>
                <a:off x="1836057" y="702644"/>
                <a:ext cx="2255906" cy="2292039"/>
              </a:xfrm>
              <a:prstGeom prst="rect">
                <a:avLst/>
              </a:prstGeom>
            </p:spPr>
          </p:pic>
          <p:sp>
            <p:nvSpPr>
              <p:cNvPr id="42" name="TextBox 41">
                <a:extLst>
                  <a:ext uri="{FF2B5EF4-FFF2-40B4-BE49-F238E27FC236}">
                    <a16:creationId xmlns:a16="http://schemas.microsoft.com/office/drawing/2014/main" id="{14D6B460-38E3-4DB1-9E03-9F63AA9CD492}"/>
                  </a:ext>
                </a:extLst>
              </p:cNvPr>
              <p:cNvSpPr txBox="1"/>
              <p:nvPr/>
            </p:nvSpPr>
            <p:spPr>
              <a:xfrm>
                <a:off x="1774804" y="2700997"/>
                <a:ext cx="2674964" cy="461665"/>
              </a:xfrm>
              <a:prstGeom prst="rect">
                <a:avLst/>
              </a:prstGeom>
              <a:noFill/>
            </p:spPr>
            <p:txBody>
              <a:bodyPr wrap="square" rtlCol="0">
                <a:spAutoFit/>
              </a:bodyPr>
              <a:lstStyle/>
              <a:p>
                <a:r>
                  <a:rPr lang="en-SG" sz="2400" dirty="0">
                    <a:latin typeface="Quicksand Bold" pitchFamily="50" charset="0"/>
                  </a:rPr>
                  <a:t>Correct person</a:t>
                </a:r>
              </a:p>
            </p:txBody>
          </p:sp>
        </p:grpSp>
        <p:grpSp>
          <p:nvGrpSpPr>
            <p:cNvPr id="47" name="Group 46">
              <a:extLst>
                <a:ext uri="{FF2B5EF4-FFF2-40B4-BE49-F238E27FC236}">
                  <a16:creationId xmlns:a16="http://schemas.microsoft.com/office/drawing/2014/main" id="{B9B734D9-7B6A-4D69-9EC3-485BA1346A86}"/>
                </a:ext>
              </a:extLst>
            </p:cNvPr>
            <p:cNvGrpSpPr/>
            <p:nvPr/>
          </p:nvGrpSpPr>
          <p:grpSpPr>
            <a:xfrm rot="20912675">
              <a:off x="4229400" y="1208155"/>
              <a:ext cx="3057745" cy="2149795"/>
              <a:chOff x="4383179" y="628611"/>
              <a:chExt cx="3057745" cy="2149795"/>
            </a:xfrm>
          </p:grpSpPr>
          <p:pic>
            <p:nvPicPr>
              <p:cNvPr id="45" name="Graphic 44">
                <a:extLst>
                  <a:ext uri="{FF2B5EF4-FFF2-40B4-BE49-F238E27FC236}">
                    <a16:creationId xmlns:a16="http://schemas.microsoft.com/office/drawing/2014/main" id="{CC3CECC0-3169-4F98-8BB1-DA817D8054DF}"/>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20452"/>
              <a:stretch/>
            </p:blipFill>
            <p:spPr>
              <a:xfrm>
                <a:off x="4867096" y="628611"/>
                <a:ext cx="2027590" cy="2016129"/>
              </a:xfrm>
              <a:prstGeom prst="rect">
                <a:avLst/>
              </a:prstGeom>
            </p:spPr>
          </p:pic>
          <p:sp>
            <p:nvSpPr>
              <p:cNvPr id="46" name="TextBox 45">
                <a:extLst>
                  <a:ext uri="{FF2B5EF4-FFF2-40B4-BE49-F238E27FC236}">
                    <a16:creationId xmlns:a16="http://schemas.microsoft.com/office/drawing/2014/main" id="{8FC6B62E-8408-443F-B269-F163A7434F9E}"/>
                  </a:ext>
                </a:extLst>
              </p:cNvPr>
              <p:cNvSpPr txBox="1"/>
              <p:nvPr/>
            </p:nvSpPr>
            <p:spPr>
              <a:xfrm>
                <a:off x="4383179" y="2316741"/>
                <a:ext cx="3057745" cy="461665"/>
              </a:xfrm>
              <a:prstGeom prst="rect">
                <a:avLst/>
              </a:prstGeom>
              <a:noFill/>
            </p:spPr>
            <p:txBody>
              <a:bodyPr wrap="square" rtlCol="0">
                <a:spAutoFit/>
              </a:bodyPr>
              <a:lstStyle/>
              <a:p>
                <a:pPr algn="ctr"/>
                <a:r>
                  <a:rPr lang="en-SG" sz="2400" dirty="0">
                    <a:latin typeface="Quicksand Bold" pitchFamily="50" charset="0"/>
                  </a:rPr>
                  <a:t>Correct dosage</a:t>
                </a:r>
              </a:p>
            </p:txBody>
          </p:sp>
        </p:grpSp>
        <p:grpSp>
          <p:nvGrpSpPr>
            <p:cNvPr id="51" name="Group 50">
              <a:extLst>
                <a:ext uri="{FF2B5EF4-FFF2-40B4-BE49-F238E27FC236}">
                  <a16:creationId xmlns:a16="http://schemas.microsoft.com/office/drawing/2014/main" id="{14E25C3A-ADE2-4930-9A15-C2EFF867B6B6}"/>
                </a:ext>
              </a:extLst>
            </p:cNvPr>
            <p:cNvGrpSpPr/>
            <p:nvPr/>
          </p:nvGrpSpPr>
          <p:grpSpPr>
            <a:xfrm>
              <a:off x="6908266" y="86413"/>
              <a:ext cx="3057745" cy="2264378"/>
              <a:chOff x="6646577" y="-110401"/>
              <a:chExt cx="3057745" cy="2264378"/>
            </a:xfrm>
          </p:grpSpPr>
          <p:pic>
            <p:nvPicPr>
              <p:cNvPr id="49" name="Graphic 48">
                <a:extLst>
                  <a:ext uri="{FF2B5EF4-FFF2-40B4-BE49-F238E27FC236}">
                    <a16:creationId xmlns:a16="http://schemas.microsoft.com/office/drawing/2014/main" id="{C3B5EA74-F920-4602-BB5C-37A4DD2C4901}"/>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b="15362"/>
              <a:stretch/>
            </p:blipFill>
            <p:spPr>
              <a:xfrm rot="20940000">
                <a:off x="6891800" y="-110401"/>
                <a:ext cx="1925451" cy="2037071"/>
              </a:xfrm>
              <a:prstGeom prst="rect">
                <a:avLst/>
              </a:prstGeom>
            </p:spPr>
          </p:pic>
          <p:sp>
            <p:nvSpPr>
              <p:cNvPr id="50" name="TextBox 49">
                <a:extLst>
                  <a:ext uri="{FF2B5EF4-FFF2-40B4-BE49-F238E27FC236}">
                    <a16:creationId xmlns:a16="http://schemas.microsoft.com/office/drawing/2014/main" id="{94EF2BF0-F9E6-41CC-AC26-AF1AD980F8CA}"/>
                  </a:ext>
                </a:extLst>
              </p:cNvPr>
              <p:cNvSpPr txBox="1"/>
              <p:nvPr/>
            </p:nvSpPr>
            <p:spPr>
              <a:xfrm rot="20912675">
                <a:off x="6646577" y="1692312"/>
                <a:ext cx="3057745" cy="461665"/>
              </a:xfrm>
              <a:prstGeom prst="rect">
                <a:avLst/>
              </a:prstGeom>
              <a:noFill/>
            </p:spPr>
            <p:txBody>
              <a:bodyPr wrap="square" rtlCol="0">
                <a:spAutoFit/>
              </a:bodyPr>
              <a:lstStyle/>
              <a:p>
                <a:pPr algn="ctr"/>
                <a:r>
                  <a:rPr lang="en-SG" sz="2400" dirty="0">
                    <a:latin typeface="Quicksand Bold" pitchFamily="50" charset="0"/>
                  </a:rPr>
                  <a:t>Correct Time</a:t>
                </a:r>
              </a:p>
            </p:txBody>
          </p:sp>
        </p:grpSp>
      </p:grpSp>
    </p:spTree>
    <p:extLst>
      <p:ext uri="{BB962C8B-B14F-4D97-AF65-F5344CB8AC3E}">
        <p14:creationId xmlns:p14="http://schemas.microsoft.com/office/powerpoint/2010/main" val="9311324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6000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500" fill="hold"/>
                                        <p:tgtEl>
                                          <p:spTgt spid="29"/>
                                        </p:tgtEl>
                                        <p:attrNameLst>
                                          <p:attrName>ppt_x</p:attrName>
                                        </p:attrNameLst>
                                      </p:cBhvr>
                                      <p:tavLst>
                                        <p:tav tm="0">
                                          <p:val>
                                            <p:strVal val="0-#ppt_w/2"/>
                                          </p:val>
                                        </p:tav>
                                        <p:tav tm="100000">
                                          <p:val>
                                            <p:strVal val="#ppt_x"/>
                                          </p:val>
                                        </p:tav>
                                      </p:tavLst>
                                    </p:anim>
                                    <p:anim calcmode="lin" valueType="num">
                                      <p:cBhvr additive="base">
                                        <p:cTn id="8" dur="500" fill="hold"/>
                                        <p:tgtEl>
                                          <p:spTgt spid="29"/>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 decel="6000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decel="6600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300" fill="hold"/>
                                        <p:tgtEl>
                                          <p:spTgt spid="7"/>
                                        </p:tgtEl>
                                        <p:attrNameLst>
                                          <p:attrName>ppt_x</p:attrName>
                                        </p:attrNameLst>
                                      </p:cBhvr>
                                      <p:tavLst>
                                        <p:tav tm="0">
                                          <p:val>
                                            <p:strVal val="#ppt_x"/>
                                          </p:val>
                                        </p:tav>
                                        <p:tav tm="100000">
                                          <p:val>
                                            <p:strVal val="#ppt_x"/>
                                          </p:val>
                                        </p:tav>
                                      </p:tavLst>
                                    </p:anim>
                                    <p:anim calcmode="lin" valueType="num">
                                      <p:cBhvr additive="base">
                                        <p:cTn id="20" dur="300" fill="hold"/>
                                        <p:tgtEl>
                                          <p:spTgt spid="7"/>
                                        </p:tgtEl>
                                        <p:attrNameLst>
                                          <p:attrName>ppt_y</p:attrName>
                                        </p:attrNameLst>
                                      </p:cBhvr>
                                      <p:tavLst>
                                        <p:tav tm="0">
                                          <p:val>
                                            <p:strVal val="0-#ppt_h/2"/>
                                          </p:val>
                                        </p:tav>
                                        <p:tav tm="100000">
                                          <p:val>
                                            <p:strVal val="#ppt_y"/>
                                          </p:val>
                                        </p:tav>
                                      </p:tavLst>
                                    </p:anim>
                                  </p:childTnLst>
                                </p:cTn>
                              </p:par>
                            </p:childTnLst>
                          </p:cTn>
                        </p:par>
                        <p:par>
                          <p:cTn id="21" fill="hold">
                            <p:stCondLst>
                              <p:cond delay="300"/>
                            </p:stCondLst>
                            <p:childTnLst>
                              <p:par>
                                <p:cTn id="22" presetID="2" presetClass="entr" presetSubtype="1" decel="60000" fill="hold" nodeType="afterEffect">
                                  <p:stCondLst>
                                    <p:cond delay="0"/>
                                  </p:stCondLst>
                                  <p:childTnLst>
                                    <p:set>
                                      <p:cBhvr>
                                        <p:cTn id="23" dur="1" fill="hold">
                                          <p:stCondLst>
                                            <p:cond delay="0"/>
                                          </p:stCondLst>
                                        </p:cTn>
                                        <p:tgtEl>
                                          <p:spTgt spid="18"/>
                                        </p:tgtEl>
                                        <p:attrNameLst>
                                          <p:attrName>style.visibility</p:attrName>
                                        </p:attrNameLst>
                                      </p:cBhvr>
                                      <p:to>
                                        <p:strVal val="visible"/>
                                      </p:to>
                                    </p:set>
                                    <p:anim calcmode="lin" valueType="num">
                                      <p:cBhvr additive="base">
                                        <p:cTn id="24" dur="500" fill="hold"/>
                                        <p:tgtEl>
                                          <p:spTgt spid="18"/>
                                        </p:tgtEl>
                                        <p:attrNameLst>
                                          <p:attrName>ppt_x</p:attrName>
                                        </p:attrNameLst>
                                      </p:cBhvr>
                                      <p:tavLst>
                                        <p:tav tm="0">
                                          <p:val>
                                            <p:strVal val="#ppt_x"/>
                                          </p:val>
                                        </p:tav>
                                        <p:tav tm="100000">
                                          <p:val>
                                            <p:strVal val="#ppt_x"/>
                                          </p:val>
                                        </p:tav>
                                      </p:tavLst>
                                    </p:anim>
                                    <p:anim calcmode="lin" valueType="num">
                                      <p:cBhvr additive="base">
                                        <p:cTn id="25" dur="500" fill="hold"/>
                                        <p:tgtEl>
                                          <p:spTgt spid="18"/>
                                        </p:tgtEl>
                                        <p:attrNameLst>
                                          <p:attrName>ppt_y</p:attrName>
                                        </p:attrNameLst>
                                      </p:cBhvr>
                                      <p:tavLst>
                                        <p:tav tm="0">
                                          <p:val>
                                            <p:strVal val="0-#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1" decel="66000" fill="hold" nodeType="clickEffect">
                                  <p:stCondLst>
                                    <p:cond delay="0"/>
                                  </p:stCondLst>
                                  <p:childTnLst>
                                    <p:set>
                                      <p:cBhvr>
                                        <p:cTn id="29" dur="1" fill="hold">
                                          <p:stCondLst>
                                            <p:cond delay="0"/>
                                          </p:stCondLst>
                                        </p:cTn>
                                        <p:tgtEl>
                                          <p:spTgt spid="23"/>
                                        </p:tgtEl>
                                        <p:attrNameLst>
                                          <p:attrName>style.visibility</p:attrName>
                                        </p:attrNameLst>
                                      </p:cBhvr>
                                      <p:to>
                                        <p:strVal val="visible"/>
                                      </p:to>
                                    </p:set>
                                    <p:anim calcmode="lin" valueType="num">
                                      <p:cBhvr additive="base">
                                        <p:cTn id="30" dur="300" fill="hold"/>
                                        <p:tgtEl>
                                          <p:spTgt spid="23"/>
                                        </p:tgtEl>
                                        <p:attrNameLst>
                                          <p:attrName>ppt_x</p:attrName>
                                        </p:attrNameLst>
                                      </p:cBhvr>
                                      <p:tavLst>
                                        <p:tav tm="0">
                                          <p:val>
                                            <p:strVal val="#ppt_x"/>
                                          </p:val>
                                        </p:tav>
                                        <p:tav tm="100000">
                                          <p:val>
                                            <p:strVal val="#ppt_x"/>
                                          </p:val>
                                        </p:tav>
                                      </p:tavLst>
                                    </p:anim>
                                    <p:anim calcmode="lin" valueType="num">
                                      <p:cBhvr additive="base">
                                        <p:cTn id="31" dur="300" fill="hold"/>
                                        <p:tgtEl>
                                          <p:spTgt spid="23"/>
                                        </p:tgtEl>
                                        <p:attrNameLst>
                                          <p:attrName>ppt_y</p:attrName>
                                        </p:attrNameLst>
                                      </p:cBhvr>
                                      <p:tavLst>
                                        <p:tav tm="0">
                                          <p:val>
                                            <p:strVal val="0-#ppt_h/2"/>
                                          </p:val>
                                        </p:tav>
                                        <p:tav tm="100000">
                                          <p:val>
                                            <p:strVal val="#ppt_y"/>
                                          </p:val>
                                        </p:tav>
                                      </p:tavLst>
                                    </p:anim>
                                  </p:childTnLst>
                                </p:cTn>
                              </p:par>
                            </p:childTnLst>
                          </p:cTn>
                        </p:par>
                        <p:par>
                          <p:cTn id="32" fill="hold">
                            <p:stCondLst>
                              <p:cond delay="300"/>
                            </p:stCondLst>
                            <p:childTnLst>
                              <p:par>
                                <p:cTn id="33" presetID="2" presetClass="entr" presetSubtype="1" decel="60000" fill="hold" nodeType="afterEffect">
                                  <p:stCondLst>
                                    <p:cond delay="0"/>
                                  </p:stCondLst>
                                  <p:childTnLst>
                                    <p:set>
                                      <p:cBhvr>
                                        <p:cTn id="34" dur="1" fill="hold">
                                          <p:stCondLst>
                                            <p:cond delay="0"/>
                                          </p:stCondLst>
                                        </p:cTn>
                                        <p:tgtEl>
                                          <p:spTgt spid="27"/>
                                        </p:tgtEl>
                                        <p:attrNameLst>
                                          <p:attrName>style.visibility</p:attrName>
                                        </p:attrNameLst>
                                      </p:cBhvr>
                                      <p:to>
                                        <p:strVal val="visible"/>
                                      </p:to>
                                    </p:set>
                                    <p:anim calcmode="lin" valueType="num">
                                      <p:cBhvr additive="base">
                                        <p:cTn id="35" dur="500" fill="hold"/>
                                        <p:tgtEl>
                                          <p:spTgt spid="27"/>
                                        </p:tgtEl>
                                        <p:attrNameLst>
                                          <p:attrName>ppt_x</p:attrName>
                                        </p:attrNameLst>
                                      </p:cBhvr>
                                      <p:tavLst>
                                        <p:tav tm="0">
                                          <p:val>
                                            <p:strVal val="#ppt_x"/>
                                          </p:val>
                                        </p:tav>
                                        <p:tav tm="100000">
                                          <p:val>
                                            <p:strVal val="#ppt_x"/>
                                          </p:val>
                                        </p:tav>
                                      </p:tavLst>
                                    </p:anim>
                                    <p:anim calcmode="lin" valueType="num">
                                      <p:cBhvr additive="base">
                                        <p:cTn id="36" dur="500" fill="hold"/>
                                        <p:tgtEl>
                                          <p:spTgt spid="27"/>
                                        </p:tgtEl>
                                        <p:attrNameLst>
                                          <p:attrName>ppt_y</p:attrName>
                                        </p:attrNameLst>
                                      </p:cBhvr>
                                      <p:tavLst>
                                        <p:tav tm="0">
                                          <p:val>
                                            <p:strVal val="0-#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36"/>
                                        </p:tgtEl>
                                        <p:attrNameLst>
                                          <p:attrName>style.visibility</p:attrName>
                                        </p:attrNameLst>
                                      </p:cBhvr>
                                      <p:to>
                                        <p:strVal val="visible"/>
                                      </p:to>
                                    </p:set>
                                    <p:animEffect transition="in" filter="fade">
                                      <p:cBhvr>
                                        <p:cTn id="41" dur="500"/>
                                        <p:tgtEl>
                                          <p:spTgt spid="36"/>
                                        </p:tgtEl>
                                      </p:cBhvr>
                                    </p:animEffect>
                                  </p:childTnLst>
                                </p:cTn>
                              </p:par>
                              <p:par>
                                <p:cTn id="42" presetID="2" presetClass="entr" presetSubtype="1" decel="60000" fill="hold" nodeType="withEffect">
                                  <p:stCondLst>
                                    <p:cond delay="0"/>
                                  </p:stCondLst>
                                  <p:childTnLst>
                                    <p:set>
                                      <p:cBhvr>
                                        <p:cTn id="43" dur="1" fill="hold">
                                          <p:stCondLst>
                                            <p:cond delay="0"/>
                                          </p:stCondLst>
                                        </p:cTn>
                                        <p:tgtEl>
                                          <p:spTgt spid="52"/>
                                        </p:tgtEl>
                                        <p:attrNameLst>
                                          <p:attrName>style.visibility</p:attrName>
                                        </p:attrNameLst>
                                      </p:cBhvr>
                                      <p:to>
                                        <p:strVal val="visible"/>
                                      </p:to>
                                    </p:set>
                                    <p:anim calcmode="lin" valueType="num">
                                      <p:cBhvr additive="base">
                                        <p:cTn id="44" dur="500" fill="hold"/>
                                        <p:tgtEl>
                                          <p:spTgt spid="52"/>
                                        </p:tgtEl>
                                        <p:attrNameLst>
                                          <p:attrName>ppt_x</p:attrName>
                                        </p:attrNameLst>
                                      </p:cBhvr>
                                      <p:tavLst>
                                        <p:tav tm="0">
                                          <p:val>
                                            <p:strVal val="#ppt_x"/>
                                          </p:val>
                                        </p:tav>
                                        <p:tav tm="100000">
                                          <p:val>
                                            <p:strVal val="#ppt_x"/>
                                          </p:val>
                                        </p:tav>
                                      </p:tavLst>
                                    </p:anim>
                                    <p:anim calcmode="lin" valueType="num">
                                      <p:cBhvr additive="base">
                                        <p:cTn id="45" dur="500" fill="hold"/>
                                        <p:tgtEl>
                                          <p:spTgt spid="52"/>
                                        </p:tgtEl>
                                        <p:attrNameLst>
                                          <p:attrName>ppt_y</p:attrName>
                                        </p:attrNameLst>
                                      </p:cBhvr>
                                      <p:tavLst>
                                        <p:tav tm="0">
                                          <p:val>
                                            <p:strVal val="0-#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2" presetClass="exit" presetSubtype="1" accel="60000" fill="hold" nodeType="clickEffect">
                                  <p:stCondLst>
                                    <p:cond delay="0"/>
                                  </p:stCondLst>
                                  <p:childTnLst>
                                    <p:anim calcmode="lin" valueType="num">
                                      <p:cBhvr additive="base">
                                        <p:cTn id="49" dur="500"/>
                                        <p:tgtEl>
                                          <p:spTgt spid="52"/>
                                        </p:tgtEl>
                                        <p:attrNameLst>
                                          <p:attrName>ppt_x</p:attrName>
                                        </p:attrNameLst>
                                      </p:cBhvr>
                                      <p:tavLst>
                                        <p:tav tm="0">
                                          <p:val>
                                            <p:strVal val="ppt_x"/>
                                          </p:val>
                                        </p:tav>
                                        <p:tav tm="100000">
                                          <p:val>
                                            <p:strVal val="ppt_x"/>
                                          </p:val>
                                        </p:tav>
                                      </p:tavLst>
                                    </p:anim>
                                    <p:anim calcmode="lin" valueType="num">
                                      <p:cBhvr additive="base">
                                        <p:cTn id="50" dur="500"/>
                                        <p:tgtEl>
                                          <p:spTgt spid="52"/>
                                        </p:tgtEl>
                                        <p:attrNameLst>
                                          <p:attrName>ppt_y</p:attrName>
                                        </p:attrNameLst>
                                      </p:cBhvr>
                                      <p:tavLst>
                                        <p:tav tm="0">
                                          <p:val>
                                            <p:strVal val="ppt_y"/>
                                          </p:val>
                                        </p:tav>
                                        <p:tav tm="100000">
                                          <p:val>
                                            <p:strVal val="0-ppt_h/2"/>
                                          </p:val>
                                        </p:tav>
                                      </p:tavLst>
                                    </p:anim>
                                    <p:set>
                                      <p:cBhvr>
                                        <p:cTn id="51" dur="1" fill="hold">
                                          <p:stCondLst>
                                            <p:cond delay="499"/>
                                          </p:stCondLst>
                                        </p:cTn>
                                        <p:tgtEl>
                                          <p:spTgt spid="52"/>
                                        </p:tgtEl>
                                        <p:attrNameLst>
                                          <p:attrName>style.visibility</p:attrName>
                                        </p:attrNameLst>
                                      </p:cBhvr>
                                      <p:to>
                                        <p:strVal val="hidden"/>
                                      </p:to>
                                    </p:set>
                                  </p:childTnLst>
                                </p:cTn>
                              </p:par>
                              <p:par>
                                <p:cTn id="52" presetID="10" presetClass="exit" presetSubtype="0" fill="hold" grpId="1" nodeType="withEffect">
                                  <p:stCondLst>
                                    <p:cond delay="0"/>
                                  </p:stCondLst>
                                  <p:childTnLst>
                                    <p:animEffect transition="out" filter="fade">
                                      <p:cBhvr>
                                        <p:cTn id="53" dur="500"/>
                                        <p:tgtEl>
                                          <p:spTgt spid="36"/>
                                        </p:tgtEl>
                                      </p:cBhvr>
                                    </p:animEffect>
                                    <p:set>
                                      <p:cBhvr>
                                        <p:cTn id="54" dur="1" fill="hold">
                                          <p:stCondLst>
                                            <p:cond delay="499"/>
                                          </p:stCondLst>
                                        </p:cTn>
                                        <p:tgtEl>
                                          <p:spTgt spid="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6"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55708E9D-7BF2-4D20-8134-5013CD660EC5}"/>
              </a:ext>
            </a:extLst>
          </p:cNvPr>
          <p:cNvSpPr/>
          <p:nvPr/>
        </p:nvSpPr>
        <p:spPr>
          <a:xfrm>
            <a:off x="932873" y="2013412"/>
            <a:ext cx="4628340" cy="2771999"/>
          </a:xfrm>
          <a:prstGeom prst="roundRect">
            <a:avLst/>
          </a:prstGeom>
          <a:solidFill>
            <a:srgbClr val="F3B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nvGrpSpPr>
          <p:cNvPr id="35" name="Group 34">
            <a:extLst>
              <a:ext uri="{FF2B5EF4-FFF2-40B4-BE49-F238E27FC236}">
                <a16:creationId xmlns:a16="http://schemas.microsoft.com/office/drawing/2014/main" id="{FD461423-B7E5-4F58-9F7F-57D66AE665F6}"/>
              </a:ext>
            </a:extLst>
          </p:cNvPr>
          <p:cNvGrpSpPr/>
          <p:nvPr/>
        </p:nvGrpSpPr>
        <p:grpSpPr>
          <a:xfrm>
            <a:off x="4509844" y="1288170"/>
            <a:ext cx="6171344" cy="4478688"/>
            <a:chOff x="4509844" y="1288170"/>
            <a:chExt cx="6171344" cy="4478688"/>
          </a:xfrm>
        </p:grpSpPr>
        <p:pic>
          <p:nvPicPr>
            <p:cNvPr id="34" name="Graphic 33">
              <a:extLst>
                <a:ext uri="{FF2B5EF4-FFF2-40B4-BE49-F238E27FC236}">
                  <a16:creationId xmlns:a16="http://schemas.microsoft.com/office/drawing/2014/main" id="{4461C716-6DE5-4A0C-8AC8-B1C25D5924B8}"/>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b="13577"/>
            <a:stretch/>
          </p:blipFill>
          <p:spPr>
            <a:xfrm>
              <a:off x="7026395" y="1288170"/>
              <a:ext cx="3654793" cy="3948224"/>
            </a:xfrm>
            <a:prstGeom prst="rect">
              <a:avLst/>
            </a:prstGeom>
          </p:spPr>
        </p:pic>
        <p:pic>
          <p:nvPicPr>
            <p:cNvPr id="52" name="Graphic 51">
              <a:extLst>
                <a:ext uri="{FF2B5EF4-FFF2-40B4-BE49-F238E27FC236}">
                  <a16:creationId xmlns:a16="http://schemas.microsoft.com/office/drawing/2014/main" id="{347BDF60-CA7C-4128-BFA5-7127CF12E030}"/>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2472" t="13101" r="28" b="36217"/>
            <a:stretch/>
          </p:blipFill>
          <p:spPr>
            <a:xfrm rot="9732610" flipH="1">
              <a:off x="6898385" y="4934681"/>
              <a:ext cx="1071562" cy="603425"/>
            </a:xfrm>
            <a:prstGeom prst="rect">
              <a:avLst/>
            </a:prstGeom>
          </p:spPr>
        </p:pic>
        <p:sp>
          <p:nvSpPr>
            <p:cNvPr id="53" name="TextBox 52">
              <a:extLst>
                <a:ext uri="{FF2B5EF4-FFF2-40B4-BE49-F238E27FC236}">
                  <a16:creationId xmlns:a16="http://schemas.microsoft.com/office/drawing/2014/main" id="{CAC9AD11-8D28-42F1-8D1E-18859EA66677}"/>
                </a:ext>
              </a:extLst>
            </p:cNvPr>
            <p:cNvSpPr txBox="1"/>
            <p:nvPr/>
          </p:nvSpPr>
          <p:spPr>
            <a:xfrm rot="21264721">
              <a:off x="4509844" y="5243638"/>
              <a:ext cx="3451374" cy="523220"/>
            </a:xfrm>
            <a:prstGeom prst="rect">
              <a:avLst/>
            </a:prstGeom>
            <a:noFill/>
          </p:spPr>
          <p:txBody>
            <a:bodyPr wrap="square" rtlCol="0">
              <a:spAutoFit/>
            </a:bodyPr>
            <a:lstStyle/>
            <a:p>
              <a:pPr algn="ctr"/>
              <a:r>
                <a:rPr lang="en-US" sz="2800" dirty="0">
                  <a:solidFill>
                    <a:schemeClr val="bg1"/>
                  </a:solidFill>
                  <a:latin typeface="Quicksand Bold" pitchFamily="50" charset="0"/>
                </a:rPr>
                <a:t>HOMEBO</a:t>
              </a:r>
              <a:endParaRPr lang="en-SG" sz="2800" dirty="0">
                <a:solidFill>
                  <a:schemeClr val="bg1"/>
                </a:solidFill>
                <a:latin typeface="Quicksand Bold" pitchFamily="50" charset="0"/>
              </a:endParaRPr>
            </a:p>
          </p:txBody>
        </p:sp>
      </p:grpSp>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pic>
        <p:nvPicPr>
          <p:cNvPr id="42" name="Graphic 41">
            <a:extLst>
              <a:ext uri="{FF2B5EF4-FFF2-40B4-BE49-F238E27FC236}">
                <a16:creationId xmlns:a16="http://schemas.microsoft.com/office/drawing/2014/main" id="{E3F18835-E8B0-480F-8C53-73D65D265D0A}"/>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r="-509" b="23542"/>
          <a:stretch/>
        </p:blipFill>
        <p:spPr>
          <a:xfrm>
            <a:off x="9162137" y="1052577"/>
            <a:ext cx="1219200" cy="1159324"/>
          </a:xfrm>
          <a:prstGeom prst="rect">
            <a:avLst/>
          </a:prstGeom>
        </p:spPr>
      </p:pic>
      <p:grpSp>
        <p:nvGrpSpPr>
          <p:cNvPr id="43" name="Group 42">
            <a:extLst>
              <a:ext uri="{FF2B5EF4-FFF2-40B4-BE49-F238E27FC236}">
                <a16:creationId xmlns:a16="http://schemas.microsoft.com/office/drawing/2014/main" id="{6C350F62-7E08-4E55-B3C6-F39260B58FAB}"/>
              </a:ext>
            </a:extLst>
          </p:cNvPr>
          <p:cNvGrpSpPr/>
          <p:nvPr/>
        </p:nvGrpSpPr>
        <p:grpSpPr>
          <a:xfrm>
            <a:off x="9816803" y="1669256"/>
            <a:ext cx="287419" cy="287419"/>
            <a:chOff x="8611703" y="3477061"/>
            <a:chExt cx="642938" cy="642938"/>
          </a:xfrm>
        </p:grpSpPr>
        <p:pic>
          <p:nvPicPr>
            <p:cNvPr id="50" name="Graphic 49">
              <a:extLst>
                <a:ext uri="{FF2B5EF4-FFF2-40B4-BE49-F238E27FC236}">
                  <a16:creationId xmlns:a16="http://schemas.microsoft.com/office/drawing/2014/main" id="{BF11197F-A6FC-43D4-A7F1-5DAE91A5074D}"/>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l="55147" t="7303" r="17721" b="70266"/>
            <a:stretch/>
          </p:blipFill>
          <p:spPr>
            <a:xfrm>
              <a:off x="8668855" y="3528309"/>
              <a:ext cx="532295" cy="543629"/>
            </a:xfrm>
            <a:prstGeom prst="rect">
              <a:avLst/>
            </a:prstGeom>
          </p:spPr>
        </p:pic>
        <p:sp>
          <p:nvSpPr>
            <p:cNvPr id="51" name="Rectangle 50">
              <a:extLst>
                <a:ext uri="{FF2B5EF4-FFF2-40B4-BE49-F238E27FC236}">
                  <a16:creationId xmlns:a16="http://schemas.microsoft.com/office/drawing/2014/main" id="{65B099E7-83ED-4001-8EBE-ECFA7D866633}"/>
                </a:ext>
              </a:extLst>
            </p:cNvPr>
            <p:cNvSpPr/>
            <p:nvPr/>
          </p:nvSpPr>
          <p:spPr>
            <a:xfrm>
              <a:off x="8611703" y="3477061"/>
              <a:ext cx="642938" cy="64293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45" name="Group 44">
            <a:extLst>
              <a:ext uri="{FF2B5EF4-FFF2-40B4-BE49-F238E27FC236}">
                <a16:creationId xmlns:a16="http://schemas.microsoft.com/office/drawing/2014/main" id="{A00926A9-D72B-4021-A1A8-B0A13996E878}"/>
              </a:ext>
            </a:extLst>
          </p:cNvPr>
          <p:cNvGrpSpPr/>
          <p:nvPr/>
        </p:nvGrpSpPr>
        <p:grpSpPr>
          <a:xfrm>
            <a:off x="9429045" y="1663418"/>
            <a:ext cx="287419" cy="287419"/>
            <a:chOff x="8453722" y="2748961"/>
            <a:chExt cx="523439" cy="523439"/>
          </a:xfrm>
        </p:grpSpPr>
        <p:pic>
          <p:nvPicPr>
            <p:cNvPr id="46" name="Graphic 45">
              <a:extLst>
                <a:ext uri="{FF2B5EF4-FFF2-40B4-BE49-F238E27FC236}">
                  <a16:creationId xmlns:a16="http://schemas.microsoft.com/office/drawing/2014/main" id="{1A8D184B-299B-44D5-AB08-90F0736B1BF8}"/>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l="53569" t="7198" r="15603" b="69353"/>
            <a:stretch/>
          </p:blipFill>
          <p:spPr>
            <a:xfrm>
              <a:off x="8479915" y="2788089"/>
              <a:ext cx="471054" cy="442588"/>
            </a:xfrm>
            <a:prstGeom prst="rect">
              <a:avLst/>
            </a:prstGeom>
          </p:spPr>
        </p:pic>
        <p:sp>
          <p:nvSpPr>
            <p:cNvPr id="48" name="Rectangle 47">
              <a:extLst>
                <a:ext uri="{FF2B5EF4-FFF2-40B4-BE49-F238E27FC236}">
                  <a16:creationId xmlns:a16="http://schemas.microsoft.com/office/drawing/2014/main" id="{64728C88-74C9-457C-9E67-CAF1DC6CF51F}"/>
                </a:ext>
              </a:extLst>
            </p:cNvPr>
            <p:cNvSpPr/>
            <p:nvPr/>
          </p:nvSpPr>
          <p:spPr>
            <a:xfrm>
              <a:off x="8453722" y="2748961"/>
              <a:ext cx="523439" cy="52343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cxnSp>
        <p:nvCxnSpPr>
          <p:cNvPr id="5" name="Straight Connector 4">
            <a:extLst>
              <a:ext uri="{FF2B5EF4-FFF2-40B4-BE49-F238E27FC236}">
                <a16:creationId xmlns:a16="http://schemas.microsoft.com/office/drawing/2014/main" id="{6F06FF55-02CB-4550-AE34-C0FDDB5C79F0}"/>
              </a:ext>
            </a:extLst>
          </p:cNvPr>
          <p:cNvCxnSpPr/>
          <p:nvPr/>
        </p:nvCxnSpPr>
        <p:spPr>
          <a:xfrm flipH="1" flipV="1">
            <a:off x="5714222" y="2635010"/>
            <a:ext cx="1117600" cy="267854"/>
          </a:xfrm>
          <a:prstGeom prst="line">
            <a:avLst/>
          </a:prstGeom>
          <a:ln w="38100">
            <a:solidFill>
              <a:srgbClr val="F3B08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9CBA609-7378-4695-9945-39789E0ADA74}"/>
              </a:ext>
            </a:extLst>
          </p:cNvPr>
          <p:cNvCxnSpPr>
            <a:cxnSpLocks/>
          </p:cNvCxnSpPr>
          <p:nvPr/>
        </p:nvCxnSpPr>
        <p:spPr>
          <a:xfrm flipH="1">
            <a:off x="5755786" y="3896088"/>
            <a:ext cx="1076036" cy="386701"/>
          </a:xfrm>
          <a:prstGeom prst="line">
            <a:avLst/>
          </a:prstGeom>
          <a:ln w="38100">
            <a:solidFill>
              <a:srgbClr val="F3B082"/>
            </a:solidFill>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4F98A41D-D18E-48A5-9654-0DE5C569E90A}"/>
              </a:ext>
            </a:extLst>
          </p:cNvPr>
          <p:cNvGrpSpPr/>
          <p:nvPr/>
        </p:nvGrpSpPr>
        <p:grpSpPr>
          <a:xfrm>
            <a:off x="9815897" y="1668348"/>
            <a:ext cx="287419" cy="287419"/>
            <a:chOff x="8611703" y="3477061"/>
            <a:chExt cx="642938" cy="642938"/>
          </a:xfrm>
        </p:grpSpPr>
        <p:pic>
          <p:nvPicPr>
            <p:cNvPr id="56" name="Graphic 55">
              <a:extLst>
                <a:ext uri="{FF2B5EF4-FFF2-40B4-BE49-F238E27FC236}">
                  <a16:creationId xmlns:a16="http://schemas.microsoft.com/office/drawing/2014/main" id="{E0E03828-3CA4-4366-B124-2F99ACA219F0}"/>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l="55147" t="7303" r="17721" b="70266"/>
            <a:stretch/>
          </p:blipFill>
          <p:spPr>
            <a:xfrm>
              <a:off x="8668855" y="3528309"/>
              <a:ext cx="532295" cy="543629"/>
            </a:xfrm>
            <a:prstGeom prst="rect">
              <a:avLst/>
            </a:prstGeom>
          </p:spPr>
        </p:pic>
        <p:sp>
          <p:nvSpPr>
            <p:cNvPr id="57" name="Rectangle 56">
              <a:extLst>
                <a:ext uri="{FF2B5EF4-FFF2-40B4-BE49-F238E27FC236}">
                  <a16:creationId xmlns:a16="http://schemas.microsoft.com/office/drawing/2014/main" id="{C8BBA3D6-C037-4E43-BF1D-E5534B1382EE}"/>
                </a:ext>
              </a:extLst>
            </p:cNvPr>
            <p:cNvSpPr/>
            <p:nvPr/>
          </p:nvSpPr>
          <p:spPr>
            <a:xfrm>
              <a:off x="8611703" y="3477061"/>
              <a:ext cx="642938" cy="64293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pic>
        <p:nvPicPr>
          <p:cNvPr id="33" name="Picture 32">
            <a:extLst>
              <a:ext uri="{FF2B5EF4-FFF2-40B4-BE49-F238E27FC236}">
                <a16:creationId xmlns:a16="http://schemas.microsoft.com/office/drawing/2014/main" id="{90415AE7-A35E-49FB-8C2F-4263394210E8}"/>
              </a:ext>
            </a:extLst>
          </p:cNvPr>
          <p:cNvPicPr>
            <a:picLocks noChangeAspect="1"/>
          </p:cNvPicPr>
          <p:nvPr/>
        </p:nvPicPr>
        <p:blipFill>
          <a:blip r:embed="rId14"/>
          <a:stretch>
            <a:fillRect/>
          </a:stretch>
        </p:blipFill>
        <p:spPr>
          <a:xfrm>
            <a:off x="1236096" y="2193961"/>
            <a:ext cx="4025979" cy="2406835"/>
          </a:xfrm>
          <a:prstGeom prst="rect">
            <a:avLst/>
          </a:prstGeom>
          <a:ln w="28575">
            <a:solidFill>
              <a:schemeClr val="tx1"/>
            </a:solidFill>
          </a:ln>
        </p:spPr>
      </p:pic>
      <p:sp>
        <p:nvSpPr>
          <p:cNvPr id="38" name="Rectangle 37">
            <a:extLst>
              <a:ext uri="{FF2B5EF4-FFF2-40B4-BE49-F238E27FC236}">
                <a16:creationId xmlns:a16="http://schemas.microsoft.com/office/drawing/2014/main" id="{33322248-62E8-4F0D-89FD-8B12FB046EFA}"/>
              </a:ext>
            </a:extLst>
          </p:cNvPr>
          <p:cNvSpPr/>
          <p:nvPr/>
        </p:nvSpPr>
        <p:spPr>
          <a:xfrm>
            <a:off x="9604088" y="4067637"/>
            <a:ext cx="287419" cy="28741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pic>
        <p:nvPicPr>
          <p:cNvPr id="8" name="Picture 7">
            <a:extLst>
              <a:ext uri="{FF2B5EF4-FFF2-40B4-BE49-F238E27FC236}">
                <a16:creationId xmlns:a16="http://schemas.microsoft.com/office/drawing/2014/main" id="{54175E21-28F6-4DC0-846E-CD8A9F9A0E9C}"/>
              </a:ext>
            </a:extLst>
          </p:cNvPr>
          <p:cNvPicPr>
            <a:picLocks noChangeAspect="1"/>
          </p:cNvPicPr>
          <p:nvPr/>
        </p:nvPicPr>
        <p:blipFill>
          <a:blip r:embed="rId15"/>
          <a:stretch>
            <a:fillRect/>
          </a:stretch>
        </p:blipFill>
        <p:spPr>
          <a:xfrm>
            <a:off x="1630512" y="2881212"/>
            <a:ext cx="2685325" cy="1095576"/>
          </a:xfrm>
          <a:prstGeom prst="rect">
            <a:avLst/>
          </a:prstGeom>
          <a:ln w="19050">
            <a:solidFill>
              <a:schemeClr val="tx1"/>
            </a:solidFill>
          </a:ln>
        </p:spPr>
      </p:pic>
      <p:pic>
        <p:nvPicPr>
          <p:cNvPr id="11" name="Picture 10">
            <a:extLst>
              <a:ext uri="{FF2B5EF4-FFF2-40B4-BE49-F238E27FC236}">
                <a16:creationId xmlns:a16="http://schemas.microsoft.com/office/drawing/2014/main" id="{9A7C5CAD-2DFE-4E49-8BB4-30AC2832C12D}"/>
              </a:ext>
            </a:extLst>
          </p:cNvPr>
          <p:cNvPicPr>
            <a:picLocks noChangeAspect="1"/>
          </p:cNvPicPr>
          <p:nvPr/>
        </p:nvPicPr>
        <p:blipFill>
          <a:blip r:embed="rId16"/>
          <a:stretch>
            <a:fillRect/>
          </a:stretch>
        </p:blipFill>
        <p:spPr>
          <a:xfrm>
            <a:off x="4604470" y="3614570"/>
            <a:ext cx="109818" cy="109818"/>
          </a:xfrm>
          <a:prstGeom prst="rect">
            <a:avLst/>
          </a:prstGeom>
        </p:spPr>
      </p:pic>
      <p:sp>
        <p:nvSpPr>
          <p:cNvPr id="13" name="Rectangle 12">
            <a:extLst>
              <a:ext uri="{FF2B5EF4-FFF2-40B4-BE49-F238E27FC236}">
                <a16:creationId xmlns:a16="http://schemas.microsoft.com/office/drawing/2014/main" id="{B1B09447-3C9F-4D7E-8309-8FD71E141712}"/>
              </a:ext>
            </a:extLst>
          </p:cNvPr>
          <p:cNvSpPr/>
          <p:nvPr/>
        </p:nvSpPr>
        <p:spPr>
          <a:xfrm>
            <a:off x="2028963" y="3429000"/>
            <a:ext cx="1070428" cy="19138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Tree>
    <p:extLst>
      <p:ext uri="{BB962C8B-B14F-4D97-AF65-F5344CB8AC3E}">
        <p14:creationId xmlns:p14="http://schemas.microsoft.com/office/powerpoint/2010/main" val="18593163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1E710AF4-BC7F-49A0-8075-9AFBC6E9CE18}"/>
              </a:ext>
            </a:extLst>
          </p:cNvPr>
          <p:cNvGrpSpPr/>
          <p:nvPr/>
        </p:nvGrpSpPr>
        <p:grpSpPr>
          <a:xfrm>
            <a:off x="-6118009" y="-2922637"/>
            <a:ext cx="13168049" cy="12703273"/>
            <a:chOff x="-6118009" y="-2922637"/>
            <a:chExt cx="13168049" cy="12703273"/>
          </a:xfrm>
        </p:grpSpPr>
        <p:grpSp>
          <p:nvGrpSpPr>
            <p:cNvPr id="6" name="Group 5">
              <a:extLst>
                <a:ext uri="{FF2B5EF4-FFF2-40B4-BE49-F238E27FC236}">
                  <a16:creationId xmlns:a16="http://schemas.microsoft.com/office/drawing/2014/main" id="{0D3B9766-3351-47D3-B096-04A260E84D61}"/>
                </a:ext>
              </a:extLst>
            </p:cNvPr>
            <p:cNvGrpSpPr/>
            <p:nvPr/>
          </p:nvGrpSpPr>
          <p:grpSpPr>
            <a:xfrm>
              <a:off x="-6118009" y="-2922637"/>
              <a:ext cx="13168049" cy="12703273"/>
              <a:chOff x="-6118009" y="-2922637"/>
              <a:chExt cx="13168049" cy="12703273"/>
            </a:xfrm>
          </p:grpSpPr>
          <p:grpSp>
            <p:nvGrpSpPr>
              <p:cNvPr id="26" name="Group 25">
                <a:extLst>
                  <a:ext uri="{FF2B5EF4-FFF2-40B4-BE49-F238E27FC236}">
                    <a16:creationId xmlns:a16="http://schemas.microsoft.com/office/drawing/2014/main" id="{4DC0A6EC-231B-4B34-B6CF-1C831FB4A37F}"/>
                  </a:ext>
                </a:extLst>
              </p:cNvPr>
              <p:cNvGrpSpPr/>
              <p:nvPr/>
            </p:nvGrpSpPr>
            <p:grpSpPr>
              <a:xfrm>
                <a:off x="-6118009" y="-2922637"/>
                <a:ext cx="13168049" cy="12703273"/>
                <a:chOff x="-6118009" y="-2922637"/>
                <a:chExt cx="13168049" cy="12703273"/>
              </a:xfrm>
            </p:grpSpPr>
            <p:pic>
              <p:nvPicPr>
                <p:cNvPr id="27" name="Graphic 26">
                  <a:extLst>
                    <a:ext uri="{FF2B5EF4-FFF2-40B4-BE49-F238E27FC236}">
                      <a16:creationId xmlns:a16="http://schemas.microsoft.com/office/drawing/2014/main" id="{5A000B36-8080-4B93-B893-AD7A7DFBD4D7}"/>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1190" t="10566" r="11006" b="29388"/>
                <a:stretch/>
              </p:blipFill>
              <p:spPr>
                <a:xfrm>
                  <a:off x="-6118009" y="-2922637"/>
                  <a:ext cx="13168049" cy="12703273"/>
                </a:xfrm>
                <a:prstGeom prst="rect">
                  <a:avLst/>
                </a:prstGeom>
              </p:spPr>
            </p:pic>
            <p:pic>
              <p:nvPicPr>
                <p:cNvPr id="29" name="Graphic 28">
                  <a:extLst>
                    <a:ext uri="{FF2B5EF4-FFF2-40B4-BE49-F238E27FC236}">
                      <a16:creationId xmlns:a16="http://schemas.microsoft.com/office/drawing/2014/main" id="{B2AA79A8-ED62-4CE4-98BD-BFE25C7FA42A}"/>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b="17405"/>
                <a:stretch/>
              </p:blipFill>
              <p:spPr>
                <a:xfrm rot="515605">
                  <a:off x="-566023" y="591403"/>
                  <a:ext cx="5244392" cy="5414531"/>
                </a:xfrm>
                <a:prstGeom prst="rect">
                  <a:avLst/>
                </a:prstGeom>
              </p:spPr>
            </p:pic>
          </p:grpSp>
          <p:pic>
            <p:nvPicPr>
              <p:cNvPr id="4" name="Picture 3">
                <a:extLst>
                  <a:ext uri="{FF2B5EF4-FFF2-40B4-BE49-F238E27FC236}">
                    <a16:creationId xmlns:a16="http://schemas.microsoft.com/office/drawing/2014/main" id="{6E33FB77-ECD0-49B2-9E8D-BA0CBD2D80E1}"/>
                  </a:ext>
                </a:extLst>
              </p:cNvPr>
              <p:cNvPicPr>
                <a:picLocks noChangeAspect="1"/>
              </p:cNvPicPr>
              <p:nvPr/>
            </p:nvPicPr>
            <p:blipFill rotWithShape="1">
              <a:blip r:embed="rId7"/>
              <a:srcRect t="11325" r="3507" b="8271"/>
              <a:stretch/>
            </p:blipFill>
            <p:spPr>
              <a:xfrm rot="540000">
                <a:off x="1101529" y="1392958"/>
                <a:ext cx="2057155" cy="3011221"/>
              </a:xfrm>
              <a:prstGeom prst="rect">
                <a:avLst/>
              </a:prstGeom>
              <a:ln>
                <a:solidFill>
                  <a:schemeClr val="tx1"/>
                </a:solidFill>
              </a:ln>
            </p:spPr>
          </p:pic>
        </p:grpSp>
        <p:sp>
          <p:nvSpPr>
            <p:cNvPr id="75" name="Rectangle 74">
              <a:extLst>
                <a:ext uri="{FF2B5EF4-FFF2-40B4-BE49-F238E27FC236}">
                  <a16:creationId xmlns:a16="http://schemas.microsoft.com/office/drawing/2014/main" id="{CED91488-F5B2-4E84-9D78-0E1F1D6BF778}"/>
                </a:ext>
              </a:extLst>
            </p:cNvPr>
            <p:cNvSpPr/>
            <p:nvPr/>
          </p:nvSpPr>
          <p:spPr>
            <a:xfrm>
              <a:off x="-91897" y="6097789"/>
              <a:ext cx="2604301" cy="1060457"/>
            </a:xfrm>
            <a:prstGeom prst="rect">
              <a:avLst/>
            </a:prstGeom>
            <a:solidFill>
              <a:srgbClr val="F3B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76" name="Rectangle 75">
              <a:extLst>
                <a:ext uri="{FF2B5EF4-FFF2-40B4-BE49-F238E27FC236}">
                  <a16:creationId xmlns:a16="http://schemas.microsoft.com/office/drawing/2014/main" id="{EF65DE28-3D6D-4990-AA42-02F832CE22E7}"/>
                </a:ext>
              </a:extLst>
            </p:cNvPr>
            <p:cNvSpPr/>
            <p:nvPr/>
          </p:nvSpPr>
          <p:spPr>
            <a:xfrm>
              <a:off x="1797240" y="-433876"/>
              <a:ext cx="2604301" cy="1060457"/>
            </a:xfrm>
            <a:prstGeom prst="rect">
              <a:avLst/>
            </a:prstGeom>
            <a:solidFill>
              <a:srgbClr val="F3B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35" name="Group 34">
            <a:extLst>
              <a:ext uri="{FF2B5EF4-FFF2-40B4-BE49-F238E27FC236}">
                <a16:creationId xmlns:a16="http://schemas.microsoft.com/office/drawing/2014/main" id="{FD461423-B7E5-4F58-9F7F-57D66AE665F6}"/>
              </a:ext>
            </a:extLst>
          </p:cNvPr>
          <p:cNvGrpSpPr/>
          <p:nvPr/>
        </p:nvGrpSpPr>
        <p:grpSpPr>
          <a:xfrm>
            <a:off x="4509844" y="1288170"/>
            <a:ext cx="6171344" cy="4478688"/>
            <a:chOff x="4509844" y="1288170"/>
            <a:chExt cx="6171344" cy="4478688"/>
          </a:xfrm>
        </p:grpSpPr>
        <p:pic>
          <p:nvPicPr>
            <p:cNvPr id="34" name="Graphic 33">
              <a:extLst>
                <a:ext uri="{FF2B5EF4-FFF2-40B4-BE49-F238E27FC236}">
                  <a16:creationId xmlns:a16="http://schemas.microsoft.com/office/drawing/2014/main" id="{4461C716-6DE5-4A0C-8AC8-B1C25D5924B8}"/>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3577"/>
            <a:stretch/>
          </p:blipFill>
          <p:spPr>
            <a:xfrm>
              <a:off x="7026395" y="1288170"/>
              <a:ext cx="3654793" cy="3948224"/>
            </a:xfrm>
            <a:prstGeom prst="rect">
              <a:avLst/>
            </a:prstGeom>
          </p:spPr>
        </p:pic>
        <p:pic>
          <p:nvPicPr>
            <p:cNvPr id="52" name="Graphic 51">
              <a:extLst>
                <a:ext uri="{FF2B5EF4-FFF2-40B4-BE49-F238E27FC236}">
                  <a16:creationId xmlns:a16="http://schemas.microsoft.com/office/drawing/2014/main" id="{347BDF60-CA7C-4128-BFA5-7127CF12E030}"/>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l="2472" t="13101" r="28" b="36217"/>
            <a:stretch/>
          </p:blipFill>
          <p:spPr>
            <a:xfrm rot="9732610" flipH="1">
              <a:off x="6898385" y="4934681"/>
              <a:ext cx="1071562" cy="603425"/>
            </a:xfrm>
            <a:prstGeom prst="rect">
              <a:avLst/>
            </a:prstGeom>
          </p:spPr>
        </p:pic>
        <p:sp>
          <p:nvSpPr>
            <p:cNvPr id="53" name="TextBox 52">
              <a:extLst>
                <a:ext uri="{FF2B5EF4-FFF2-40B4-BE49-F238E27FC236}">
                  <a16:creationId xmlns:a16="http://schemas.microsoft.com/office/drawing/2014/main" id="{CAC9AD11-8D28-42F1-8D1E-18859EA66677}"/>
                </a:ext>
              </a:extLst>
            </p:cNvPr>
            <p:cNvSpPr txBox="1"/>
            <p:nvPr/>
          </p:nvSpPr>
          <p:spPr>
            <a:xfrm rot="21264721">
              <a:off x="4509844" y="5243638"/>
              <a:ext cx="3451374" cy="523220"/>
            </a:xfrm>
            <a:prstGeom prst="rect">
              <a:avLst/>
            </a:prstGeom>
            <a:noFill/>
          </p:spPr>
          <p:txBody>
            <a:bodyPr wrap="square" rtlCol="0">
              <a:spAutoFit/>
            </a:bodyPr>
            <a:lstStyle/>
            <a:p>
              <a:pPr algn="ctr"/>
              <a:r>
                <a:rPr lang="en-US" sz="2800" dirty="0">
                  <a:solidFill>
                    <a:schemeClr val="bg1"/>
                  </a:solidFill>
                  <a:latin typeface="Quicksand Bold" pitchFamily="50" charset="0"/>
                </a:rPr>
                <a:t>HOMEBO</a:t>
              </a:r>
              <a:endParaRPr lang="en-SG" sz="2800" dirty="0">
                <a:solidFill>
                  <a:schemeClr val="bg1"/>
                </a:solidFill>
                <a:latin typeface="Quicksand Bold" pitchFamily="50" charset="0"/>
              </a:endParaRPr>
            </a:p>
          </p:txBody>
        </p:sp>
      </p:grpSp>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pic>
        <p:nvPicPr>
          <p:cNvPr id="42" name="Graphic 41">
            <a:extLst>
              <a:ext uri="{FF2B5EF4-FFF2-40B4-BE49-F238E27FC236}">
                <a16:creationId xmlns:a16="http://schemas.microsoft.com/office/drawing/2014/main" id="{E3F18835-E8B0-480F-8C53-73D65D265D0A}"/>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r="-509" b="23542"/>
          <a:stretch/>
        </p:blipFill>
        <p:spPr>
          <a:xfrm>
            <a:off x="9162137" y="1052577"/>
            <a:ext cx="1219200" cy="1159324"/>
          </a:xfrm>
          <a:prstGeom prst="rect">
            <a:avLst/>
          </a:prstGeom>
        </p:spPr>
      </p:pic>
      <p:grpSp>
        <p:nvGrpSpPr>
          <p:cNvPr id="43" name="Group 42">
            <a:extLst>
              <a:ext uri="{FF2B5EF4-FFF2-40B4-BE49-F238E27FC236}">
                <a16:creationId xmlns:a16="http://schemas.microsoft.com/office/drawing/2014/main" id="{6C350F62-7E08-4E55-B3C6-F39260B58FAB}"/>
              </a:ext>
            </a:extLst>
          </p:cNvPr>
          <p:cNvGrpSpPr/>
          <p:nvPr/>
        </p:nvGrpSpPr>
        <p:grpSpPr>
          <a:xfrm>
            <a:off x="9816803" y="1669256"/>
            <a:ext cx="287419" cy="287419"/>
            <a:chOff x="8611703" y="3477061"/>
            <a:chExt cx="642938" cy="642938"/>
          </a:xfrm>
        </p:grpSpPr>
        <p:pic>
          <p:nvPicPr>
            <p:cNvPr id="50" name="Graphic 49">
              <a:extLst>
                <a:ext uri="{FF2B5EF4-FFF2-40B4-BE49-F238E27FC236}">
                  <a16:creationId xmlns:a16="http://schemas.microsoft.com/office/drawing/2014/main" id="{BF11197F-A6FC-43D4-A7F1-5DAE91A5074D}"/>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l="55147" t="7303" r="17721" b="70266"/>
            <a:stretch/>
          </p:blipFill>
          <p:spPr>
            <a:xfrm>
              <a:off x="8668855" y="3528309"/>
              <a:ext cx="532295" cy="543629"/>
            </a:xfrm>
            <a:prstGeom prst="rect">
              <a:avLst/>
            </a:prstGeom>
          </p:spPr>
        </p:pic>
        <p:sp>
          <p:nvSpPr>
            <p:cNvPr id="51" name="Rectangle 50">
              <a:extLst>
                <a:ext uri="{FF2B5EF4-FFF2-40B4-BE49-F238E27FC236}">
                  <a16:creationId xmlns:a16="http://schemas.microsoft.com/office/drawing/2014/main" id="{65B099E7-83ED-4001-8EBE-ECFA7D866633}"/>
                </a:ext>
              </a:extLst>
            </p:cNvPr>
            <p:cNvSpPr/>
            <p:nvPr/>
          </p:nvSpPr>
          <p:spPr>
            <a:xfrm>
              <a:off x="8611703" y="3477061"/>
              <a:ext cx="642938" cy="64293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45" name="Group 44">
            <a:extLst>
              <a:ext uri="{FF2B5EF4-FFF2-40B4-BE49-F238E27FC236}">
                <a16:creationId xmlns:a16="http://schemas.microsoft.com/office/drawing/2014/main" id="{A00926A9-D72B-4021-A1A8-B0A13996E878}"/>
              </a:ext>
            </a:extLst>
          </p:cNvPr>
          <p:cNvGrpSpPr/>
          <p:nvPr/>
        </p:nvGrpSpPr>
        <p:grpSpPr>
          <a:xfrm>
            <a:off x="9429045" y="1663418"/>
            <a:ext cx="287419" cy="287419"/>
            <a:chOff x="8453722" y="2748961"/>
            <a:chExt cx="523439" cy="523439"/>
          </a:xfrm>
        </p:grpSpPr>
        <p:pic>
          <p:nvPicPr>
            <p:cNvPr id="46" name="Graphic 45">
              <a:extLst>
                <a:ext uri="{FF2B5EF4-FFF2-40B4-BE49-F238E27FC236}">
                  <a16:creationId xmlns:a16="http://schemas.microsoft.com/office/drawing/2014/main" id="{1A8D184B-299B-44D5-AB08-90F0736B1BF8}"/>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l="53569" t="7198" r="15603" b="69353"/>
            <a:stretch/>
          </p:blipFill>
          <p:spPr>
            <a:xfrm>
              <a:off x="8479915" y="2788089"/>
              <a:ext cx="471054" cy="442588"/>
            </a:xfrm>
            <a:prstGeom prst="rect">
              <a:avLst/>
            </a:prstGeom>
          </p:spPr>
        </p:pic>
        <p:sp>
          <p:nvSpPr>
            <p:cNvPr id="48" name="Rectangle 47">
              <a:extLst>
                <a:ext uri="{FF2B5EF4-FFF2-40B4-BE49-F238E27FC236}">
                  <a16:creationId xmlns:a16="http://schemas.microsoft.com/office/drawing/2014/main" id="{64728C88-74C9-457C-9E67-CAF1DC6CF51F}"/>
                </a:ext>
              </a:extLst>
            </p:cNvPr>
            <p:cNvSpPr/>
            <p:nvPr/>
          </p:nvSpPr>
          <p:spPr>
            <a:xfrm>
              <a:off x="8453722" y="2748961"/>
              <a:ext cx="523439" cy="52343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55" name="Group 54">
            <a:extLst>
              <a:ext uri="{FF2B5EF4-FFF2-40B4-BE49-F238E27FC236}">
                <a16:creationId xmlns:a16="http://schemas.microsoft.com/office/drawing/2014/main" id="{4F98A41D-D18E-48A5-9654-0DE5C569E90A}"/>
              </a:ext>
            </a:extLst>
          </p:cNvPr>
          <p:cNvGrpSpPr/>
          <p:nvPr/>
        </p:nvGrpSpPr>
        <p:grpSpPr>
          <a:xfrm>
            <a:off x="9815897" y="1668348"/>
            <a:ext cx="287419" cy="287419"/>
            <a:chOff x="8611703" y="3477061"/>
            <a:chExt cx="642938" cy="642938"/>
          </a:xfrm>
        </p:grpSpPr>
        <p:pic>
          <p:nvPicPr>
            <p:cNvPr id="56" name="Graphic 55">
              <a:extLst>
                <a:ext uri="{FF2B5EF4-FFF2-40B4-BE49-F238E27FC236}">
                  <a16:creationId xmlns:a16="http://schemas.microsoft.com/office/drawing/2014/main" id="{E0E03828-3CA4-4366-B124-2F99ACA219F0}"/>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l="55147" t="7303" r="17721" b="70266"/>
            <a:stretch/>
          </p:blipFill>
          <p:spPr>
            <a:xfrm>
              <a:off x="8668855" y="3528309"/>
              <a:ext cx="532295" cy="543629"/>
            </a:xfrm>
            <a:prstGeom prst="rect">
              <a:avLst/>
            </a:prstGeom>
          </p:spPr>
        </p:pic>
        <p:sp>
          <p:nvSpPr>
            <p:cNvPr id="57" name="Rectangle 56">
              <a:extLst>
                <a:ext uri="{FF2B5EF4-FFF2-40B4-BE49-F238E27FC236}">
                  <a16:creationId xmlns:a16="http://schemas.microsoft.com/office/drawing/2014/main" id="{C8BBA3D6-C037-4E43-BF1D-E5534B1382EE}"/>
                </a:ext>
              </a:extLst>
            </p:cNvPr>
            <p:cNvSpPr/>
            <p:nvPr/>
          </p:nvSpPr>
          <p:spPr>
            <a:xfrm>
              <a:off x="8611703" y="3477061"/>
              <a:ext cx="642938" cy="64293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sp>
        <p:nvSpPr>
          <p:cNvPr id="38" name="Rectangle 37">
            <a:extLst>
              <a:ext uri="{FF2B5EF4-FFF2-40B4-BE49-F238E27FC236}">
                <a16:creationId xmlns:a16="http://schemas.microsoft.com/office/drawing/2014/main" id="{33322248-62E8-4F0D-89FD-8B12FB046EFA}"/>
              </a:ext>
            </a:extLst>
          </p:cNvPr>
          <p:cNvSpPr/>
          <p:nvPr/>
        </p:nvSpPr>
        <p:spPr>
          <a:xfrm>
            <a:off x="9604088" y="4067637"/>
            <a:ext cx="287419" cy="28741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nvGrpSpPr>
          <p:cNvPr id="2" name="Group 1">
            <a:extLst>
              <a:ext uri="{FF2B5EF4-FFF2-40B4-BE49-F238E27FC236}">
                <a16:creationId xmlns:a16="http://schemas.microsoft.com/office/drawing/2014/main" id="{3F0EB06C-9A07-4CC4-A132-BE01522AC1B9}"/>
              </a:ext>
            </a:extLst>
          </p:cNvPr>
          <p:cNvGrpSpPr/>
          <p:nvPr/>
        </p:nvGrpSpPr>
        <p:grpSpPr>
          <a:xfrm>
            <a:off x="932873" y="2013412"/>
            <a:ext cx="5898949" cy="2771999"/>
            <a:chOff x="932873" y="2013412"/>
            <a:chExt cx="5898949" cy="2771999"/>
          </a:xfrm>
        </p:grpSpPr>
        <p:sp>
          <p:nvSpPr>
            <p:cNvPr id="12" name="Rectangle: Rounded Corners 11">
              <a:extLst>
                <a:ext uri="{FF2B5EF4-FFF2-40B4-BE49-F238E27FC236}">
                  <a16:creationId xmlns:a16="http://schemas.microsoft.com/office/drawing/2014/main" id="{55708E9D-7BF2-4D20-8134-5013CD660EC5}"/>
                </a:ext>
              </a:extLst>
            </p:cNvPr>
            <p:cNvSpPr/>
            <p:nvPr/>
          </p:nvSpPr>
          <p:spPr>
            <a:xfrm>
              <a:off x="932873" y="2013412"/>
              <a:ext cx="4628340" cy="2771999"/>
            </a:xfrm>
            <a:prstGeom prst="roundRect">
              <a:avLst/>
            </a:prstGeom>
            <a:solidFill>
              <a:srgbClr val="F3B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cxnSp>
          <p:nvCxnSpPr>
            <p:cNvPr id="5" name="Straight Connector 4">
              <a:extLst>
                <a:ext uri="{FF2B5EF4-FFF2-40B4-BE49-F238E27FC236}">
                  <a16:creationId xmlns:a16="http://schemas.microsoft.com/office/drawing/2014/main" id="{6F06FF55-02CB-4550-AE34-C0FDDB5C79F0}"/>
                </a:ext>
              </a:extLst>
            </p:cNvPr>
            <p:cNvCxnSpPr/>
            <p:nvPr/>
          </p:nvCxnSpPr>
          <p:spPr>
            <a:xfrm flipH="1" flipV="1">
              <a:off x="5714222" y="2635010"/>
              <a:ext cx="1117600" cy="267854"/>
            </a:xfrm>
            <a:prstGeom prst="line">
              <a:avLst/>
            </a:prstGeom>
            <a:ln w="38100">
              <a:solidFill>
                <a:srgbClr val="F3B08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9CBA609-7378-4695-9945-39789E0ADA74}"/>
                </a:ext>
              </a:extLst>
            </p:cNvPr>
            <p:cNvCxnSpPr>
              <a:cxnSpLocks/>
            </p:cNvCxnSpPr>
            <p:nvPr/>
          </p:nvCxnSpPr>
          <p:spPr>
            <a:xfrm flipH="1">
              <a:off x="5755786" y="3896088"/>
              <a:ext cx="1076036" cy="386701"/>
            </a:xfrm>
            <a:prstGeom prst="line">
              <a:avLst/>
            </a:prstGeom>
            <a:ln w="38100">
              <a:solidFill>
                <a:srgbClr val="F3B082"/>
              </a:solidFill>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90415AE7-A35E-49FB-8C2F-4263394210E8}"/>
                </a:ext>
              </a:extLst>
            </p:cNvPr>
            <p:cNvPicPr>
              <a:picLocks noChangeAspect="1"/>
            </p:cNvPicPr>
            <p:nvPr/>
          </p:nvPicPr>
          <p:blipFill>
            <a:blip r:embed="rId19"/>
            <a:stretch>
              <a:fillRect/>
            </a:stretch>
          </p:blipFill>
          <p:spPr>
            <a:xfrm>
              <a:off x="1236096" y="2193961"/>
              <a:ext cx="4025979" cy="2406835"/>
            </a:xfrm>
            <a:prstGeom prst="rect">
              <a:avLst/>
            </a:prstGeom>
            <a:ln w="28575">
              <a:solidFill>
                <a:schemeClr val="tx1"/>
              </a:solidFill>
            </a:ln>
          </p:spPr>
        </p:pic>
        <p:pic>
          <p:nvPicPr>
            <p:cNvPr id="8" name="Picture 7">
              <a:extLst>
                <a:ext uri="{FF2B5EF4-FFF2-40B4-BE49-F238E27FC236}">
                  <a16:creationId xmlns:a16="http://schemas.microsoft.com/office/drawing/2014/main" id="{54175E21-28F6-4DC0-846E-CD8A9F9A0E9C}"/>
                </a:ext>
              </a:extLst>
            </p:cNvPr>
            <p:cNvPicPr>
              <a:picLocks noChangeAspect="1"/>
            </p:cNvPicPr>
            <p:nvPr/>
          </p:nvPicPr>
          <p:blipFill>
            <a:blip r:embed="rId20"/>
            <a:stretch>
              <a:fillRect/>
            </a:stretch>
          </p:blipFill>
          <p:spPr>
            <a:xfrm>
              <a:off x="1630512" y="2881212"/>
              <a:ext cx="2685325" cy="1095576"/>
            </a:xfrm>
            <a:prstGeom prst="rect">
              <a:avLst/>
            </a:prstGeom>
            <a:ln w="19050">
              <a:solidFill>
                <a:schemeClr val="tx1"/>
              </a:solidFill>
            </a:ln>
          </p:spPr>
        </p:pic>
        <p:pic>
          <p:nvPicPr>
            <p:cNvPr id="11" name="Picture 10">
              <a:extLst>
                <a:ext uri="{FF2B5EF4-FFF2-40B4-BE49-F238E27FC236}">
                  <a16:creationId xmlns:a16="http://schemas.microsoft.com/office/drawing/2014/main" id="{9A7C5CAD-2DFE-4E49-8BB4-30AC2832C12D}"/>
                </a:ext>
              </a:extLst>
            </p:cNvPr>
            <p:cNvPicPr>
              <a:picLocks noChangeAspect="1"/>
            </p:cNvPicPr>
            <p:nvPr/>
          </p:nvPicPr>
          <p:blipFill>
            <a:blip r:embed="rId21"/>
            <a:stretch>
              <a:fillRect/>
            </a:stretch>
          </p:blipFill>
          <p:spPr>
            <a:xfrm>
              <a:off x="4604470" y="3614570"/>
              <a:ext cx="109818" cy="109818"/>
            </a:xfrm>
            <a:prstGeom prst="rect">
              <a:avLst/>
            </a:prstGeom>
          </p:spPr>
        </p:pic>
        <p:sp>
          <p:nvSpPr>
            <p:cNvPr id="13" name="Rectangle 12">
              <a:extLst>
                <a:ext uri="{FF2B5EF4-FFF2-40B4-BE49-F238E27FC236}">
                  <a16:creationId xmlns:a16="http://schemas.microsoft.com/office/drawing/2014/main" id="{B1B09447-3C9F-4D7E-8309-8FD71E141712}"/>
                </a:ext>
              </a:extLst>
            </p:cNvPr>
            <p:cNvSpPr/>
            <p:nvPr/>
          </p:nvSpPr>
          <p:spPr>
            <a:xfrm>
              <a:off x="2028963" y="3429000"/>
              <a:ext cx="1070428" cy="19138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pic>
        <p:nvPicPr>
          <p:cNvPr id="15" name="Picture 14">
            <a:extLst>
              <a:ext uri="{FF2B5EF4-FFF2-40B4-BE49-F238E27FC236}">
                <a16:creationId xmlns:a16="http://schemas.microsoft.com/office/drawing/2014/main" id="{BAC2D074-7076-40DB-9761-6779EC06E4E3}"/>
              </a:ext>
            </a:extLst>
          </p:cNvPr>
          <p:cNvPicPr>
            <a:picLocks noChangeAspect="1"/>
          </p:cNvPicPr>
          <p:nvPr/>
        </p:nvPicPr>
        <p:blipFill rotWithShape="1">
          <a:blip r:embed="rId22"/>
          <a:srcRect b="27658"/>
          <a:stretch/>
        </p:blipFill>
        <p:spPr>
          <a:xfrm rot="540000">
            <a:off x="1101277" y="1403159"/>
            <a:ext cx="2063161" cy="2993893"/>
          </a:xfrm>
          <a:prstGeom prst="rect">
            <a:avLst/>
          </a:prstGeom>
          <a:ln>
            <a:solidFill>
              <a:schemeClr val="tx1"/>
            </a:solidFill>
          </a:ln>
        </p:spPr>
      </p:pic>
      <p:grpSp>
        <p:nvGrpSpPr>
          <p:cNvPr id="19" name="Group 18">
            <a:extLst>
              <a:ext uri="{FF2B5EF4-FFF2-40B4-BE49-F238E27FC236}">
                <a16:creationId xmlns:a16="http://schemas.microsoft.com/office/drawing/2014/main" id="{70A361F5-203C-4456-BC6D-ADD0205B9FB7}"/>
              </a:ext>
            </a:extLst>
          </p:cNvPr>
          <p:cNvGrpSpPr/>
          <p:nvPr/>
        </p:nvGrpSpPr>
        <p:grpSpPr>
          <a:xfrm>
            <a:off x="8784532" y="3105589"/>
            <a:ext cx="2060688" cy="2083155"/>
            <a:chOff x="7671330" y="5448079"/>
            <a:chExt cx="3110970" cy="3144888"/>
          </a:xfrm>
        </p:grpSpPr>
        <p:sp>
          <p:nvSpPr>
            <p:cNvPr id="18" name="Rectangle: Rounded Corners 17">
              <a:extLst>
                <a:ext uri="{FF2B5EF4-FFF2-40B4-BE49-F238E27FC236}">
                  <a16:creationId xmlns:a16="http://schemas.microsoft.com/office/drawing/2014/main" id="{C4C87B43-B5C0-4445-816B-4829F17E7D38}"/>
                </a:ext>
              </a:extLst>
            </p:cNvPr>
            <p:cNvSpPr/>
            <p:nvPr/>
          </p:nvSpPr>
          <p:spPr>
            <a:xfrm>
              <a:off x="8085632" y="6696272"/>
              <a:ext cx="2282366" cy="703332"/>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pic>
          <p:nvPicPr>
            <p:cNvPr id="17" name="Graphic 16">
              <a:extLst>
                <a:ext uri="{FF2B5EF4-FFF2-40B4-BE49-F238E27FC236}">
                  <a16:creationId xmlns:a16="http://schemas.microsoft.com/office/drawing/2014/main" id="{C0E6D927-A317-411E-836B-40AF8911FA37}"/>
                </a:ext>
              </a:extLst>
            </p:cNvPr>
            <p:cNvPicPr>
              <a:picLocks noChangeAspect="1"/>
            </p:cNvPicPr>
            <p:nvPr/>
          </p:nvPicPr>
          <p:blipFill rotWithShape="1">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b="19128"/>
            <a:stretch/>
          </p:blipFill>
          <p:spPr>
            <a:xfrm>
              <a:off x="7671330" y="5448079"/>
              <a:ext cx="3110970" cy="3144888"/>
            </a:xfrm>
            <a:prstGeom prst="rect">
              <a:avLst/>
            </a:prstGeom>
          </p:spPr>
        </p:pic>
      </p:grpSp>
      <p:pic>
        <p:nvPicPr>
          <p:cNvPr id="44" name="Graphic 43">
            <a:extLst>
              <a:ext uri="{FF2B5EF4-FFF2-40B4-BE49-F238E27FC236}">
                <a16:creationId xmlns:a16="http://schemas.microsoft.com/office/drawing/2014/main" id="{B267B18E-0896-474E-809D-08B4BE56EBE7}"/>
              </a:ext>
            </a:extLst>
          </p:cNvPr>
          <p:cNvPicPr>
            <a:picLocks noChangeAspect="1"/>
          </p:cNvPicPr>
          <p:nvPr/>
        </p:nvPicPr>
        <p:blipFill rotWithShape="1">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rcRect l="55147" t="7303" r="17721" b="70266"/>
          <a:stretch/>
        </p:blipFill>
        <p:spPr>
          <a:xfrm>
            <a:off x="9097905" y="3946861"/>
            <a:ext cx="146980" cy="150110"/>
          </a:xfrm>
          <a:prstGeom prst="rect">
            <a:avLst/>
          </a:prstGeom>
        </p:spPr>
      </p:pic>
      <p:pic>
        <p:nvPicPr>
          <p:cNvPr id="47" name="Graphic 46">
            <a:extLst>
              <a:ext uri="{FF2B5EF4-FFF2-40B4-BE49-F238E27FC236}">
                <a16:creationId xmlns:a16="http://schemas.microsoft.com/office/drawing/2014/main" id="{6D23B00A-84FE-4792-9B6E-EA9560CEFA59}"/>
              </a:ext>
            </a:extLst>
          </p:cNvPr>
          <p:cNvPicPr>
            <a:picLocks noChangeAspect="1"/>
          </p:cNvPicPr>
          <p:nvPr/>
        </p:nvPicPr>
        <p:blipFill rotWithShape="1">
          <a:blip r:embed="rId25">
            <a:extLst>
              <a:ext uri="{28A0092B-C50C-407E-A947-70E740481C1C}">
                <a14:useLocalDpi xmlns:a14="http://schemas.microsoft.com/office/drawing/2010/main" val="0"/>
              </a:ext>
              <a:ext uri="{96DAC541-7B7A-43D3-8B79-37D633B846F1}">
                <asvg:svgBlip xmlns:asvg="http://schemas.microsoft.com/office/drawing/2016/SVG/main" r:embed="rId27"/>
              </a:ext>
            </a:extLst>
          </a:blip>
          <a:srcRect l="55147" t="7303" r="17721" b="70266"/>
          <a:stretch/>
        </p:blipFill>
        <p:spPr>
          <a:xfrm>
            <a:off x="9098523" y="4073347"/>
            <a:ext cx="146980" cy="150110"/>
          </a:xfrm>
          <a:prstGeom prst="rect">
            <a:avLst/>
          </a:prstGeom>
        </p:spPr>
      </p:pic>
      <p:pic>
        <p:nvPicPr>
          <p:cNvPr id="49" name="Graphic 48">
            <a:extLst>
              <a:ext uri="{FF2B5EF4-FFF2-40B4-BE49-F238E27FC236}">
                <a16:creationId xmlns:a16="http://schemas.microsoft.com/office/drawing/2014/main" id="{4282102A-D874-4153-8F5B-E8EDE9E4FEB7}"/>
              </a:ext>
            </a:extLst>
          </p:cNvPr>
          <p:cNvPicPr>
            <a:picLocks noChangeAspect="1"/>
          </p:cNvPicPr>
          <p:nvPr/>
        </p:nvPicPr>
        <p:blipFill rotWithShape="1">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l="53569" t="7198" r="15603" b="69353"/>
          <a:stretch/>
        </p:blipFill>
        <p:spPr>
          <a:xfrm>
            <a:off x="9101607" y="4215471"/>
            <a:ext cx="148564" cy="139585"/>
          </a:xfrm>
          <a:prstGeom prst="rect">
            <a:avLst/>
          </a:prstGeom>
        </p:spPr>
      </p:pic>
      <p:pic>
        <p:nvPicPr>
          <p:cNvPr id="54" name="Graphic 53">
            <a:extLst>
              <a:ext uri="{FF2B5EF4-FFF2-40B4-BE49-F238E27FC236}">
                <a16:creationId xmlns:a16="http://schemas.microsoft.com/office/drawing/2014/main" id="{2A0AD821-C646-4B71-919C-69590CDE7809}"/>
              </a:ext>
            </a:extLst>
          </p:cNvPr>
          <p:cNvPicPr>
            <a:picLocks noChangeAspect="1"/>
          </p:cNvPicPr>
          <p:nvPr/>
        </p:nvPicPr>
        <p:blipFill rotWithShape="1">
          <a:blip r:embed="rId25">
            <a:extLst>
              <a:ext uri="{28A0092B-C50C-407E-A947-70E740481C1C}">
                <a14:useLocalDpi xmlns:a14="http://schemas.microsoft.com/office/drawing/2010/main" val="0"/>
              </a:ext>
              <a:ext uri="{96DAC541-7B7A-43D3-8B79-37D633B846F1}">
                <asvg:svgBlip xmlns:asvg="http://schemas.microsoft.com/office/drawing/2016/SVG/main" r:embed="rId27"/>
              </a:ext>
            </a:extLst>
          </a:blip>
          <a:srcRect l="55147" t="7303" r="17721" b="70266"/>
          <a:stretch/>
        </p:blipFill>
        <p:spPr>
          <a:xfrm>
            <a:off x="9315264" y="4078290"/>
            <a:ext cx="146980" cy="150110"/>
          </a:xfrm>
          <a:prstGeom prst="rect">
            <a:avLst/>
          </a:prstGeom>
        </p:spPr>
      </p:pic>
      <p:pic>
        <p:nvPicPr>
          <p:cNvPr id="58" name="Graphic 57">
            <a:extLst>
              <a:ext uri="{FF2B5EF4-FFF2-40B4-BE49-F238E27FC236}">
                <a16:creationId xmlns:a16="http://schemas.microsoft.com/office/drawing/2014/main" id="{F4D1EB96-9D5B-47A7-B7BA-6E1BF4A0E4C5}"/>
              </a:ext>
            </a:extLst>
          </p:cNvPr>
          <p:cNvPicPr>
            <a:picLocks noChangeAspect="1"/>
          </p:cNvPicPr>
          <p:nvPr/>
        </p:nvPicPr>
        <p:blipFill rotWithShape="1">
          <a:blip r:embed="rId25">
            <a:extLst>
              <a:ext uri="{28A0092B-C50C-407E-A947-70E740481C1C}">
                <a14:useLocalDpi xmlns:a14="http://schemas.microsoft.com/office/drawing/2010/main" val="0"/>
              </a:ext>
              <a:ext uri="{96DAC541-7B7A-43D3-8B79-37D633B846F1}">
                <asvg:svgBlip xmlns:asvg="http://schemas.microsoft.com/office/drawing/2016/SVG/main" r:embed="rId27"/>
              </a:ext>
            </a:extLst>
          </a:blip>
          <a:srcRect l="55147" t="7303" r="17721" b="70266"/>
          <a:stretch/>
        </p:blipFill>
        <p:spPr>
          <a:xfrm>
            <a:off x="9315882" y="4204776"/>
            <a:ext cx="146980" cy="150110"/>
          </a:xfrm>
          <a:prstGeom prst="rect">
            <a:avLst/>
          </a:prstGeom>
        </p:spPr>
      </p:pic>
      <p:pic>
        <p:nvPicPr>
          <p:cNvPr id="59" name="Graphic 58">
            <a:extLst>
              <a:ext uri="{FF2B5EF4-FFF2-40B4-BE49-F238E27FC236}">
                <a16:creationId xmlns:a16="http://schemas.microsoft.com/office/drawing/2014/main" id="{E37FF319-5E34-458D-808B-58E4E386AAF0}"/>
              </a:ext>
            </a:extLst>
          </p:cNvPr>
          <p:cNvPicPr>
            <a:picLocks noChangeAspect="1"/>
          </p:cNvPicPr>
          <p:nvPr/>
        </p:nvPicPr>
        <p:blipFill rotWithShape="1">
          <a:blip r:embed="rId28">
            <a:extLst>
              <a:ext uri="{28A0092B-C50C-407E-A947-70E740481C1C}">
                <a14:useLocalDpi xmlns:a14="http://schemas.microsoft.com/office/drawing/2010/main" val="0"/>
              </a:ext>
              <a:ext uri="{96DAC541-7B7A-43D3-8B79-37D633B846F1}">
                <asvg:svgBlip xmlns:asvg="http://schemas.microsoft.com/office/drawing/2016/SVG/main" r:embed="rId30"/>
              </a:ext>
            </a:extLst>
          </a:blip>
          <a:srcRect l="53569" t="7198" r="15603" b="69353"/>
          <a:stretch/>
        </p:blipFill>
        <p:spPr>
          <a:xfrm>
            <a:off x="9317712" y="3953555"/>
            <a:ext cx="148564" cy="139585"/>
          </a:xfrm>
          <a:prstGeom prst="rect">
            <a:avLst/>
          </a:prstGeom>
        </p:spPr>
      </p:pic>
      <p:pic>
        <p:nvPicPr>
          <p:cNvPr id="60" name="Graphic 59">
            <a:extLst>
              <a:ext uri="{FF2B5EF4-FFF2-40B4-BE49-F238E27FC236}">
                <a16:creationId xmlns:a16="http://schemas.microsoft.com/office/drawing/2014/main" id="{52039410-9CE1-452A-A4CF-5456AEC20105}"/>
              </a:ext>
            </a:extLst>
          </p:cNvPr>
          <p:cNvPicPr>
            <a:picLocks noChangeAspect="1"/>
          </p:cNvPicPr>
          <p:nvPr/>
        </p:nvPicPr>
        <p:blipFill rotWithShape="1">
          <a:blip r:embed="rId25">
            <a:extLst>
              <a:ext uri="{28A0092B-C50C-407E-A947-70E740481C1C}">
                <a14:useLocalDpi xmlns:a14="http://schemas.microsoft.com/office/drawing/2010/main" val="0"/>
              </a:ext>
              <a:ext uri="{96DAC541-7B7A-43D3-8B79-37D633B846F1}">
                <asvg:svgBlip xmlns:asvg="http://schemas.microsoft.com/office/drawing/2016/SVG/main" r:embed="rId27"/>
              </a:ext>
            </a:extLst>
          </a:blip>
          <a:srcRect l="55147" t="7303" r="17721" b="70266"/>
          <a:stretch/>
        </p:blipFill>
        <p:spPr>
          <a:xfrm>
            <a:off x="10156865" y="4204776"/>
            <a:ext cx="146980" cy="150110"/>
          </a:xfrm>
          <a:prstGeom prst="rect">
            <a:avLst/>
          </a:prstGeom>
        </p:spPr>
      </p:pic>
      <p:pic>
        <p:nvPicPr>
          <p:cNvPr id="61" name="Graphic 60">
            <a:extLst>
              <a:ext uri="{FF2B5EF4-FFF2-40B4-BE49-F238E27FC236}">
                <a16:creationId xmlns:a16="http://schemas.microsoft.com/office/drawing/2014/main" id="{403F4D29-96B4-45CC-A94A-BDC4AAEFA4AF}"/>
              </a:ext>
            </a:extLst>
          </p:cNvPr>
          <p:cNvPicPr>
            <a:picLocks noChangeAspect="1"/>
          </p:cNvPicPr>
          <p:nvPr/>
        </p:nvPicPr>
        <p:blipFill rotWithShape="1">
          <a:blip r:embed="rId25">
            <a:extLst>
              <a:ext uri="{28A0092B-C50C-407E-A947-70E740481C1C}">
                <a14:useLocalDpi xmlns:a14="http://schemas.microsoft.com/office/drawing/2010/main" val="0"/>
              </a:ext>
              <a:ext uri="{96DAC541-7B7A-43D3-8B79-37D633B846F1}">
                <asvg:svgBlip xmlns:asvg="http://schemas.microsoft.com/office/drawing/2016/SVG/main" r:embed="rId27"/>
              </a:ext>
            </a:extLst>
          </a:blip>
          <a:srcRect l="55147" t="7303" r="17721" b="70266"/>
          <a:stretch/>
        </p:blipFill>
        <p:spPr>
          <a:xfrm>
            <a:off x="10161428" y="3946861"/>
            <a:ext cx="146980" cy="150110"/>
          </a:xfrm>
          <a:prstGeom prst="rect">
            <a:avLst/>
          </a:prstGeom>
        </p:spPr>
      </p:pic>
      <p:pic>
        <p:nvPicPr>
          <p:cNvPr id="62" name="Graphic 61">
            <a:extLst>
              <a:ext uri="{FF2B5EF4-FFF2-40B4-BE49-F238E27FC236}">
                <a16:creationId xmlns:a16="http://schemas.microsoft.com/office/drawing/2014/main" id="{B73493B9-5E73-419D-842D-1AF13DFCF557}"/>
              </a:ext>
            </a:extLst>
          </p:cNvPr>
          <p:cNvPicPr>
            <a:picLocks noChangeAspect="1"/>
          </p:cNvPicPr>
          <p:nvPr/>
        </p:nvPicPr>
        <p:blipFill rotWithShape="1">
          <a:blip r:embed="rId28">
            <a:extLst>
              <a:ext uri="{28A0092B-C50C-407E-A947-70E740481C1C}">
                <a14:useLocalDpi xmlns:a14="http://schemas.microsoft.com/office/drawing/2010/main" val="0"/>
              </a:ext>
              <a:ext uri="{96DAC541-7B7A-43D3-8B79-37D633B846F1}">
                <asvg:svgBlip xmlns:asvg="http://schemas.microsoft.com/office/drawing/2016/SVG/main" r:embed="rId30"/>
              </a:ext>
            </a:extLst>
          </a:blip>
          <a:srcRect l="53569" t="7198" r="15603" b="69353"/>
          <a:stretch/>
        </p:blipFill>
        <p:spPr>
          <a:xfrm>
            <a:off x="10159313" y="4083872"/>
            <a:ext cx="148564" cy="139585"/>
          </a:xfrm>
          <a:prstGeom prst="rect">
            <a:avLst/>
          </a:prstGeom>
        </p:spPr>
      </p:pic>
      <p:pic>
        <p:nvPicPr>
          <p:cNvPr id="63" name="Graphic 62">
            <a:extLst>
              <a:ext uri="{FF2B5EF4-FFF2-40B4-BE49-F238E27FC236}">
                <a16:creationId xmlns:a16="http://schemas.microsoft.com/office/drawing/2014/main" id="{2723E1A8-CB10-41FC-8577-D8D21B4750C1}"/>
              </a:ext>
            </a:extLst>
          </p:cNvPr>
          <p:cNvPicPr>
            <a:picLocks noChangeAspect="1"/>
          </p:cNvPicPr>
          <p:nvPr/>
        </p:nvPicPr>
        <p:blipFill rotWithShape="1">
          <a:blip r:embed="rId25">
            <a:extLst>
              <a:ext uri="{28A0092B-C50C-407E-A947-70E740481C1C}">
                <a14:useLocalDpi xmlns:a14="http://schemas.microsoft.com/office/drawing/2010/main" val="0"/>
              </a:ext>
              <a:ext uri="{96DAC541-7B7A-43D3-8B79-37D633B846F1}">
                <asvg:svgBlip xmlns:asvg="http://schemas.microsoft.com/office/drawing/2016/SVG/main" r:embed="rId27"/>
              </a:ext>
            </a:extLst>
          </a:blip>
          <a:srcRect l="55147" t="7303" r="17721" b="70266"/>
          <a:stretch/>
        </p:blipFill>
        <p:spPr>
          <a:xfrm>
            <a:off x="10376111" y="4080751"/>
            <a:ext cx="146980" cy="150110"/>
          </a:xfrm>
          <a:prstGeom prst="rect">
            <a:avLst/>
          </a:prstGeom>
        </p:spPr>
      </p:pic>
      <p:pic>
        <p:nvPicPr>
          <p:cNvPr id="64" name="Graphic 63">
            <a:extLst>
              <a:ext uri="{FF2B5EF4-FFF2-40B4-BE49-F238E27FC236}">
                <a16:creationId xmlns:a16="http://schemas.microsoft.com/office/drawing/2014/main" id="{C5736705-A9B4-460F-B4D7-C85F7B43C029}"/>
              </a:ext>
            </a:extLst>
          </p:cNvPr>
          <p:cNvPicPr>
            <a:picLocks noChangeAspect="1"/>
          </p:cNvPicPr>
          <p:nvPr/>
        </p:nvPicPr>
        <p:blipFill rotWithShape="1">
          <a:blip r:embed="rId25">
            <a:extLst>
              <a:ext uri="{28A0092B-C50C-407E-A947-70E740481C1C}">
                <a14:useLocalDpi xmlns:a14="http://schemas.microsoft.com/office/drawing/2010/main" val="0"/>
              </a:ext>
              <a:ext uri="{96DAC541-7B7A-43D3-8B79-37D633B846F1}">
                <asvg:svgBlip xmlns:asvg="http://schemas.microsoft.com/office/drawing/2016/SVG/main" r:embed="rId27"/>
              </a:ext>
            </a:extLst>
          </a:blip>
          <a:srcRect l="55147" t="7303" r="17721" b="70266"/>
          <a:stretch/>
        </p:blipFill>
        <p:spPr>
          <a:xfrm>
            <a:off x="10376729" y="4207237"/>
            <a:ext cx="146980" cy="150110"/>
          </a:xfrm>
          <a:prstGeom prst="rect">
            <a:avLst/>
          </a:prstGeom>
        </p:spPr>
      </p:pic>
      <p:pic>
        <p:nvPicPr>
          <p:cNvPr id="65" name="Graphic 64">
            <a:extLst>
              <a:ext uri="{FF2B5EF4-FFF2-40B4-BE49-F238E27FC236}">
                <a16:creationId xmlns:a16="http://schemas.microsoft.com/office/drawing/2014/main" id="{21CD132B-A967-4855-87D8-9E5162EA82C9}"/>
              </a:ext>
            </a:extLst>
          </p:cNvPr>
          <p:cNvPicPr>
            <a:picLocks noChangeAspect="1"/>
          </p:cNvPicPr>
          <p:nvPr/>
        </p:nvPicPr>
        <p:blipFill rotWithShape="1">
          <a:blip r:embed="rId28">
            <a:extLst>
              <a:ext uri="{28A0092B-C50C-407E-A947-70E740481C1C}">
                <a14:useLocalDpi xmlns:a14="http://schemas.microsoft.com/office/drawing/2010/main" val="0"/>
              </a:ext>
              <a:ext uri="{96DAC541-7B7A-43D3-8B79-37D633B846F1}">
                <asvg:svgBlip xmlns:asvg="http://schemas.microsoft.com/office/drawing/2016/SVG/main" r:embed="rId30"/>
              </a:ext>
            </a:extLst>
          </a:blip>
          <a:srcRect l="53569" t="7198" r="15603" b="69353"/>
          <a:stretch/>
        </p:blipFill>
        <p:spPr>
          <a:xfrm>
            <a:off x="10378559" y="3956016"/>
            <a:ext cx="148564" cy="139585"/>
          </a:xfrm>
          <a:prstGeom prst="rect">
            <a:avLst/>
          </a:prstGeom>
        </p:spPr>
      </p:pic>
      <p:pic>
        <p:nvPicPr>
          <p:cNvPr id="66" name="Graphic 65">
            <a:extLst>
              <a:ext uri="{FF2B5EF4-FFF2-40B4-BE49-F238E27FC236}">
                <a16:creationId xmlns:a16="http://schemas.microsoft.com/office/drawing/2014/main" id="{28087745-9134-40CE-ABC0-8E33F511AADC}"/>
              </a:ext>
            </a:extLst>
          </p:cNvPr>
          <p:cNvPicPr>
            <a:picLocks noChangeAspect="1"/>
          </p:cNvPicPr>
          <p:nvPr/>
        </p:nvPicPr>
        <p:blipFill rotWithShape="1">
          <a:blip r:embed="rId28">
            <a:extLst>
              <a:ext uri="{28A0092B-C50C-407E-A947-70E740481C1C}">
                <a14:useLocalDpi xmlns:a14="http://schemas.microsoft.com/office/drawing/2010/main" val="0"/>
              </a:ext>
              <a:ext uri="{96DAC541-7B7A-43D3-8B79-37D633B846F1}">
                <asvg:svgBlip xmlns:asvg="http://schemas.microsoft.com/office/drawing/2016/SVG/main" r:embed="rId30"/>
              </a:ext>
            </a:extLst>
          </a:blip>
          <a:srcRect l="53569" t="7198" r="15603" b="69353"/>
          <a:stretch/>
        </p:blipFill>
        <p:spPr>
          <a:xfrm>
            <a:off x="9945731" y="3950563"/>
            <a:ext cx="148564" cy="139585"/>
          </a:xfrm>
          <a:prstGeom prst="rect">
            <a:avLst/>
          </a:prstGeom>
        </p:spPr>
      </p:pic>
      <p:pic>
        <p:nvPicPr>
          <p:cNvPr id="67" name="Graphic 66">
            <a:extLst>
              <a:ext uri="{FF2B5EF4-FFF2-40B4-BE49-F238E27FC236}">
                <a16:creationId xmlns:a16="http://schemas.microsoft.com/office/drawing/2014/main" id="{C2B07071-F741-4D60-AED2-BFB1E66FC55C}"/>
              </a:ext>
            </a:extLst>
          </p:cNvPr>
          <p:cNvPicPr>
            <a:picLocks noChangeAspect="1"/>
          </p:cNvPicPr>
          <p:nvPr/>
        </p:nvPicPr>
        <p:blipFill rotWithShape="1">
          <a:blip r:embed="rId28">
            <a:extLst>
              <a:ext uri="{28A0092B-C50C-407E-A947-70E740481C1C}">
                <a14:useLocalDpi xmlns:a14="http://schemas.microsoft.com/office/drawing/2010/main" val="0"/>
              </a:ext>
              <a:ext uri="{96DAC541-7B7A-43D3-8B79-37D633B846F1}">
                <asvg:svgBlip xmlns:asvg="http://schemas.microsoft.com/office/drawing/2016/SVG/main" r:embed="rId30"/>
              </a:ext>
            </a:extLst>
          </a:blip>
          <a:srcRect l="53569" t="7198" r="15603" b="69353"/>
          <a:stretch/>
        </p:blipFill>
        <p:spPr>
          <a:xfrm>
            <a:off x="9945731" y="4082891"/>
            <a:ext cx="148564" cy="139585"/>
          </a:xfrm>
          <a:prstGeom prst="rect">
            <a:avLst/>
          </a:prstGeom>
        </p:spPr>
      </p:pic>
      <p:pic>
        <p:nvPicPr>
          <p:cNvPr id="68" name="Graphic 67">
            <a:extLst>
              <a:ext uri="{FF2B5EF4-FFF2-40B4-BE49-F238E27FC236}">
                <a16:creationId xmlns:a16="http://schemas.microsoft.com/office/drawing/2014/main" id="{F9D3F2BA-2C37-4D5D-96A2-B0E537B2E072}"/>
              </a:ext>
            </a:extLst>
          </p:cNvPr>
          <p:cNvPicPr>
            <a:picLocks noChangeAspect="1"/>
          </p:cNvPicPr>
          <p:nvPr/>
        </p:nvPicPr>
        <p:blipFill rotWithShape="1">
          <a:blip r:embed="rId25">
            <a:extLst>
              <a:ext uri="{28A0092B-C50C-407E-A947-70E740481C1C}">
                <a14:useLocalDpi xmlns:a14="http://schemas.microsoft.com/office/drawing/2010/main" val="0"/>
              </a:ext>
              <a:ext uri="{96DAC541-7B7A-43D3-8B79-37D633B846F1}">
                <asvg:svgBlip xmlns:asvg="http://schemas.microsoft.com/office/drawing/2016/SVG/main" r:embed="rId27"/>
              </a:ext>
            </a:extLst>
          </a:blip>
          <a:srcRect l="55147" t="7303" r="17721" b="70266"/>
          <a:stretch/>
        </p:blipFill>
        <p:spPr>
          <a:xfrm>
            <a:off x="9951806" y="4212173"/>
            <a:ext cx="146980" cy="150110"/>
          </a:xfrm>
          <a:prstGeom prst="rect">
            <a:avLst/>
          </a:prstGeom>
        </p:spPr>
      </p:pic>
      <p:pic>
        <p:nvPicPr>
          <p:cNvPr id="69" name="Graphic 68">
            <a:extLst>
              <a:ext uri="{FF2B5EF4-FFF2-40B4-BE49-F238E27FC236}">
                <a16:creationId xmlns:a16="http://schemas.microsoft.com/office/drawing/2014/main" id="{FDD9E3EC-7DE3-4914-8E42-5A976EA129E7}"/>
              </a:ext>
            </a:extLst>
          </p:cNvPr>
          <p:cNvPicPr>
            <a:picLocks noChangeAspect="1"/>
          </p:cNvPicPr>
          <p:nvPr/>
        </p:nvPicPr>
        <p:blipFill rotWithShape="1">
          <a:blip r:embed="rId28">
            <a:extLst>
              <a:ext uri="{28A0092B-C50C-407E-A947-70E740481C1C}">
                <a14:useLocalDpi xmlns:a14="http://schemas.microsoft.com/office/drawing/2010/main" val="0"/>
              </a:ext>
              <a:ext uri="{96DAC541-7B7A-43D3-8B79-37D633B846F1}">
                <asvg:svgBlip xmlns:asvg="http://schemas.microsoft.com/office/drawing/2016/SVG/main" r:embed="rId30"/>
              </a:ext>
            </a:extLst>
          </a:blip>
          <a:srcRect l="53569" t="7198" r="15603" b="69353"/>
          <a:stretch/>
        </p:blipFill>
        <p:spPr>
          <a:xfrm>
            <a:off x="9731890" y="4217435"/>
            <a:ext cx="148564" cy="139585"/>
          </a:xfrm>
          <a:prstGeom prst="rect">
            <a:avLst/>
          </a:prstGeom>
        </p:spPr>
      </p:pic>
      <p:pic>
        <p:nvPicPr>
          <p:cNvPr id="70" name="Graphic 69">
            <a:extLst>
              <a:ext uri="{FF2B5EF4-FFF2-40B4-BE49-F238E27FC236}">
                <a16:creationId xmlns:a16="http://schemas.microsoft.com/office/drawing/2014/main" id="{20059635-5705-4044-B893-F34227CF2DA6}"/>
              </a:ext>
            </a:extLst>
          </p:cNvPr>
          <p:cNvPicPr>
            <a:picLocks noChangeAspect="1"/>
          </p:cNvPicPr>
          <p:nvPr/>
        </p:nvPicPr>
        <p:blipFill rotWithShape="1">
          <a:blip r:embed="rId28">
            <a:extLst>
              <a:ext uri="{28A0092B-C50C-407E-A947-70E740481C1C}">
                <a14:useLocalDpi xmlns:a14="http://schemas.microsoft.com/office/drawing/2010/main" val="0"/>
              </a:ext>
              <a:ext uri="{96DAC541-7B7A-43D3-8B79-37D633B846F1}">
                <asvg:svgBlip xmlns:asvg="http://schemas.microsoft.com/office/drawing/2016/SVG/main" r:embed="rId30"/>
              </a:ext>
            </a:extLst>
          </a:blip>
          <a:srcRect l="53569" t="7198" r="15603" b="69353"/>
          <a:stretch/>
        </p:blipFill>
        <p:spPr>
          <a:xfrm>
            <a:off x="9737686" y="3950194"/>
            <a:ext cx="148564" cy="139585"/>
          </a:xfrm>
          <a:prstGeom prst="rect">
            <a:avLst/>
          </a:prstGeom>
        </p:spPr>
      </p:pic>
      <p:pic>
        <p:nvPicPr>
          <p:cNvPr id="71" name="Graphic 70">
            <a:extLst>
              <a:ext uri="{FF2B5EF4-FFF2-40B4-BE49-F238E27FC236}">
                <a16:creationId xmlns:a16="http://schemas.microsoft.com/office/drawing/2014/main" id="{FB56BF55-668A-424D-8024-E20E69E8729B}"/>
              </a:ext>
            </a:extLst>
          </p:cNvPr>
          <p:cNvPicPr>
            <a:picLocks noChangeAspect="1"/>
          </p:cNvPicPr>
          <p:nvPr/>
        </p:nvPicPr>
        <p:blipFill rotWithShape="1">
          <a:blip r:embed="rId25">
            <a:extLst>
              <a:ext uri="{28A0092B-C50C-407E-A947-70E740481C1C}">
                <a14:useLocalDpi xmlns:a14="http://schemas.microsoft.com/office/drawing/2010/main" val="0"/>
              </a:ext>
              <a:ext uri="{96DAC541-7B7A-43D3-8B79-37D633B846F1}">
                <asvg:svgBlip xmlns:asvg="http://schemas.microsoft.com/office/drawing/2016/SVG/main" r:embed="rId27"/>
              </a:ext>
            </a:extLst>
          </a:blip>
          <a:srcRect l="55147" t="7303" r="17721" b="70266"/>
          <a:stretch/>
        </p:blipFill>
        <p:spPr>
          <a:xfrm>
            <a:off x="9737666" y="4078556"/>
            <a:ext cx="146980" cy="150110"/>
          </a:xfrm>
          <a:prstGeom prst="rect">
            <a:avLst/>
          </a:prstGeom>
        </p:spPr>
      </p:pic>
      <p:pic>
        <p:nvPicPr>
          <p:cNvPr id="72" name="Graphic 71">
            <a:extLst>
              <a:ext uri="{FF2B5EF4-FFF2-40B4-BE49-F238E27FC236}">
                <a16:creationId xmlns:a16="http://schemas.microsoft.com/office/drawing/2014/main" id="{4B7DF078-4A3A-4F4E-A14D-DE16E34857A9}"/>
              </a:ext>
            </a:extLst>
          </p:cNvPr>
          <p:cNvPicPr>
            <a:picLocks noChangeAspect="1"/>
          </p:cNvPicPr>
          <p:nvPr/>
        </p:nvPicPr>
        <p:blipFill rotWithShape="1">
          <a:blip r:embed="rId28">
            <a:extLst>
              <a:ext uri="{28A0092B-C50C-407E-A947-70E740481C1C}">
                <a14:useLocalDpi xmlns:a14="http://schemas.microsoft.com/office/drawing/2010/main" val="0"/>
              </a:ext>
              <a:ext uri="{96DAC541-7B7A-43D3-8B79-37D633B846F1}">
                <asvg:svgBlip xmlns:asvg="http://schemas.microsoft.com/office/drawing/2016/SVG/main" r:embed="rId30"/>
              </a:ext>
            </a:extLst>
          </a:blip>
          <a:srcRect l="53569" t="7198" r="15603" b="69353"/>
          <a:stretch/>
        </p:blipFill>
        <p:spPr>
          <a:xfrm>
            <a:off x="9519304" y="4217169"/>
            <a:ext cx="148564" cy="139585"/>
          </a:xfrm>
          <a:prstGeom prst="rect">
            <a:avLst/>
          </a:prstGeom>
        </p:spPr>
      </p:pic>
      <p:pic>
        <p:nvPicPr>
          <p:cNvPr id="73" name="Graphic 72">
            <a:extLst>
              <a:ext uri="{FF2B5EF4-FFF2-40B4-BE49-F238E27FC236}">
                <a16:creationId xmlns:a16="http://schemas.microsoft.com/office/drawing/2014/main" id="{E6520952-0C4C-4C50-A72C-14BC35FB60E4}"/>
              </a:ext>
            </a:extLst>
          </p:cNvPr>
          <p:cNvPicPr>
            <a:picLocks noChangeAspect="1"/>
          </p:cNvPicPr>
          <p:nvPr/>
        </p:nvPicPr>
        <p:blipFill rotWithShape="1">
          <a:blip r:embed="rId28">
            <a:extLst>
              <a:ext uri="{28A0092B-C50C-407E-A947-70E740481C1C}">
                <a14:useLocalDpi xmlns:a14="http://schemas.microsoft.com/office/drawing/2010/main" val="0"/>
              </a:ext>
              <a:ext uri="{96DAC541-7B7A-43D3-8B79-37D633B846F1}">
                <asvg:svgBlip xmlns:asvg="http://schemas.microsoft.com/office/drawing/2016/SVG/main" r:embed="rId30"/>
              </a:ext>
            </a:extLst>
          </a:blip>
          <a:srcRect l="53569" t="7198" r="15603" b="69353"/>
          <a:stretch/>
        </p:blipFill>
        <p:spPr>
          <a:xfrm>
            <a:off x="9525100" y="3949928"/>
            <a:ext cx="148564" cy="139585"/>
          </a:xfrm>
          <a:prstGeom prst="rect">
            <a:avLst/>
          </a:prstGeom>
        </p:spPr>
      </p:pic>
      <p:pic>
        <p:nvPicPr>
          <p:cNvPr id="74" name="Graphic 73">
            <a:extLst>
              <a:ext uri="{FF2B5EF4-FFF2-40B4-BE49-F238E27FC236}">
                <a16:creationId xmlns:a16="http://schemas.microsoft.com/office/drawing/2014/main" id="{1151B15A-D873-4172-8477-E94FDB4ACFA8}"/>
              </a:ext>
            </a:extLst>
          </p:cNvPr>
          <p:cNvPicPr>
            <a:picLocks noChangeAspect="1"/>
          </p:cNvPicPr>
          <p:nvPr/>
        </p:nvPicPr>
        <p:blipFill rotWithShape="1">
          <a:blip r:embed="rId25">
            <a:extLst>
              <a:ext uri="{28A0092B-C50C-407E-A947-70E740481C1C}">
                <a14:useLocalDpi xmlns:a14="http://schemas.microsoft.com/office/drawing/2010/main" val="0"/>
              </a:ext>
              <a:ext uri="{96DAC541-7B7A-43D3-8B79-37D633B846F1}">
                <asvg:svgBlip xmlns:asvg="http://schemas.microsoft.com/office/drawing/2016/SVG/main" r:embed="rId27"/>
              </a:ext>
            </a:extLst>
          </a:blip>
          <a:srcRect l="55147" t="7303" r="17721" b="70266"/>
          <a:stretch/>
        </p:blipFill>
        <p:spPr>
          <a:xfrm>
            <a:off x="9525080" y="4078290"/>
            <a:ext cx="146980" cy="150110"/>
          </a:xfrm>
          <a:prstGeom prst="rect">
            <a:avLst/>
          </a:prstGeom>
        </p:spPr>
      </p:pic>
    </p:spTree>
    <p:extLst>
      <p:ext uri="{BB962C8B-B14F-4D97-AF65-F5344CB8AC3E}">
        <p14:creationId xmlns:p14="http://schemas.microsoft.com/office/powerpoint/2010/main" val="42625349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2" presetClass="entr" presetSubtype="8" decel="6000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 calcmode="lin" valueType="num">
                                      <p:cBhvr additive="base">
                                        <p:cTn id="12" dur="500" fill="hold"/>
                                        <p:tgtEl>
                                          <p:spTgt spid="20"/>
                                        </p:tgtEl>
                                        <p:attrNameLst>
                                          <p:attrName>ppt_x</p:attrName>
                                        </p:attrNameLst>
                                      </p:cBhvr>
                                      <p:tavLst>
                                        <p:tav tm="0">
                                          <p:val>
                                            <p:strVal val="0-#ppt_w/2"/>
                                          </p:val>
                                        </p:tav>
                                        <p:tav tm="100000">
                                          <p:val>
                                            <p:strVal val="#ppt_x"/>
                                          </p:val>
                                        </p:tav>
                                      </p:tavLst>
                                    </p:anim>
                                    <p:anim calcmode="lin" valueType="num">
                                      <p:cBhvr additive="base">
                                        <p:cTn id="13" dur="50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15"/>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xit" presetSubtype="0" fill="hold" nodeType="clickEffect">
                                  <p:stCondLst>
                                    <p:cond delay="0"/>
                                  </p:stCondLst>
                                  <p:childTnLst>
                                    <p:set>
                                      <p:cBhvr>
                                        <p:cTn id="21" dur="1" fill="hold">
                                          <p:stCondLst>
                                            <p:cond delay="0"/>
                                          </p:stCondLst>
                                        </p:cTn>
                                        <p:tgtEl>
                                          <p:spTgt spid="15"/>
                                        </p:tgtEl>
                                        <p:attrNameLst>
                                          <p:attrName>style.visibility</p:attrName>
                                        </p:attrNameLst>
                                      </p:cBhvr>
                                      <p:to>
                                        <p:strVal val="hidden"/>
                                      </p:to>
                                    </p:set>
                                  </p:childTnLst>
                                </p:cTn>
                              </p:par>
                              <p:par>
                                <p:cTn id="22" presetID="10" presetClass="exit" presetSubtype="0" fill="hold" grpId="0" nodeType="withEffect">
                                  <p:stCondLst>
                                    <p:cond delay="0"/>
                                  </p:stCondLst>
                                  <p:childTnLst>
                                    <p:animEffect transition="out" filter="fade">
                                      <p:cBhvr>
                                        <p:cTn id="23" dur="50"/>
                                        <p:tgtEl>
                                          <p:spTgt spid="38"/>
                                        </p:tgtEl>
                                      </p:cBhvr>
                                    </p:animEffect>
                                    <p:set>
                                      <p:cBhvr>
                                        <p:cTn id="24" dur="1" fill="hold">
                                          <p:stCondLst>
                                            <p:cond delay="49"/>
                                          </p:stCondLst>
                                        </p:cTn>
                                        <p:tgtEl>
                                          <p:spTgt spid="38"/>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2" presetClass="exit" presetSubtype="8" accel="60000" fill="hold" nodeType="clickEffect">
                                  <p:stCondLst>
                                    <p:cond delay="0"/>
                                  </p:stCondLst>
                                  <p:childTnLst>
                                    <p:anim calcmode="lin" valueType="num">
                                      <p:cBhvr additive="base">
                                        <p:cTn id="28" dur="500"/>
                                        <p:tgtEl>
                                          <p:spTgt spid="20"/>
                                        </p:tgtEl>
                                        <p:attrNameLst>
                                          <p:attrName>ppt_x</p:attrName>
                                        </p:attrNameLst>
                                      </p:cBhvr>
                                      <p:tavLst>
                                        <p:tav tm="0">
                                          <p:val>
                                            <p:strVal val="ppt_x"/>
                                          </p:val>
                                        </p:tav>
                                        <p:tav tm="100000">
                                          <p:val>
                                            <p:strVal val="0-ppt_w/2"/>
                                          </p:val>
                                        </p:tav>
                                      </p:tavLst>
                                    </p:anim>
                                    <p:anim calcmode="lin" valueType="num">
                                      <p:cBhvr additive="base">
                                        <p:cTn id="29" dur="500"/>
                                        <p:tgtEl>
                                          <p:spTgt spid="20"/>
                                        </p:tgtEl>
                                        <p:attrNameLst>
                                          <p:attrName>ppt_y</p:attrName>
                                        </p:attrNameLst>
                                      </p:cBhvr>
                                      <p:tavLst>
                                        <p:tav tm="0">
                                          <p:val>
                                            <p:strVal val="ppt_y"/>
                                          </p:val>
                                        </p:tav>
                                        <p:tav tm="100000">
                                          <p:val>
                                            <p:strVal val="ppt_y"/>
                                          </p:val>
                                        </p:tav>
                                      </p:tavLst>
                                    </p:anim>
                                    <p:set>
                                      <p:cBhvr>
                                        <p:cTn id="30" dur="1" fill="hold">
                                          <p:stCondLst>
                                            <p:cond delay="499"/>
                                          </p:stCondLst>
                                        </p:cTn>
                                        <p:tgtEl>
                                          <p:spTgt spid="20"/>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2" presetClass="entr" presetSubtype="2" accel="40000" decel="60000" fill="hold" nodeType="clickEffect">
                                  <p:stCondLst>
                                    <p:cond delay="0"/>
                                  </p:stCondLst>
                                  <p:childTnLst>
                                    <p:set>
                                      <p:cBhvr>
                                        <p:cTn id="34" dur="1" fill="hold">
                                          <p:stCondLst>
                                            <p:cond delay="0"/>
                                          </p:stCondLst>
                                        </p:cTn>
                                        <p:tgtEl>
                                          <p:spTgt spid="19"/>
                                        </p:tgtEl>
                                        <p:attrNameLst>
                                          <p:attrName>style.visibility</p:attrName>
                                        </p:attrNameLst>
                                      </p:cBhvr>
                                      <p:to>
                                        <p:strVal val="visible"/>
                                      </p:to>
                                    </p:set>
                                    <p:anim calcmode="lin" valueType="num">
                                      <p:cBhvr additive="base">
                                        <p:cTn id="35" dur="500" fill="hold"/>
                                        <p:tgtEl>
                                          <p:spTgt spid="19"/>
                                        </p:tgtEl>
                                        <p:attrNameLst>
                                          <p:attrName>ppt_x</p:attrName>
                                        </p:attrNameLst>
                                      </p:cBhvr>
                                      <p:tavLst>
                                        <p:tav tm="0">
                                          <p:val>
                                            <p:strVal val="1+#ppt_w/2"/>
                                          </p:val>
                                        </p:tav>
                                        <p:tav tm="100000">
                                          <p:val>
                                            <p:strVal val="#ppt_x"/>
                                          </p:val>
                                        </p:tav>
                                      </p:tavLst>
                                    </p:anim>
                                    <p:anim calcmode="lin" valueType="num">
                                      <p:cBhvr additive="base">
                                        <p:cTn id="36"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49"/>
                                          </p:stCondLst>
                                        </p:cTn>
                                        <p:tgtEl>
                                          <p:spTgt spid="44"/>
                                        </p:tgtEl>
                                        <p:attrNameLst>
                                          <p:attrName>style.visibility</p:attrName>
                                        </p:attrNameLst>
                                      </p:cBhvr>
                                      <p:to>
                                        <p:strVal val="visible"/>
                                      </p:to>
                                    </p:set>
                                  </p:childTnLst>
                                </p:cTn>
                              </p:par>
                            </p:childTnLst>
                          </p:cTn>
                        </p:par>
                        <p:par>
                          <p:cTn id="41" fill="hold">
                            <p:stCondLst>
                              <p:cond delay="50"/>
                            </p:stCondLst>
                            <p:childTnLst>
                              <p:par>
                                <p:cTn id="42" presetID="1" presetClass="entr" presetSubtype="0" fill="hold" nodeType="afterEffect">
                                  <p:stCondLst>
                                    <p:cond delay="0"/>
                                  </p:stCondLst>
                                  <p:childTnLst>
                                    <p:set>
                                      <p:cBhvr>
                                        <p:cTn id="43" dur="1" fill="hold">
                                          <p:stCondLst>
                                            <p:cond delay="49"/>
                                          </p:stCondLst>
                                        </p:cTn>
                                        <p:tgtEl>
                                          <p:spTgt spid="47"/>
                                        </p:tgtEl>
                                        <p:attrNameLst>
                                          <p:attrName>style.visibility</p:attrName>
                                        </p:attrNameLst>
                                      </p:cBhvr>
                                      <p:to>
                                        <p:strVal val="visible"/>
                                      </p:to>
                                    </p:set>
                                  </p:childTnLst>
                                </p:cTn>
                              </p:par>
                            </p:childTnLst>
                          </p:cTn>
                        </p:par>
                        <p:par>
                          <p:cTn id="44" fill="hold">
                            <p:stCondLst>
                              <p:cond delay="100"/>
                            </p:stCondLst>
                            <p:childTnLst>
                              <p:par>
                                <p:cTn id="45" presetID="1" presetClass="entr" presetSubtype="0" fill="hold" nodeType="afterEffect">
                                  <p:stCondLst>
                                    <p:cond delay="0"/>
                                  </p:stCondLst>
                                  <p:childTnLst>
                                    <p:set>
                                      <p:cBhvr>
                                        <p:cTn id="46" dur="1" fill="hold">
                                          <p:stCondLst>
                                            <p:cond delay="49"/>
                                          </p:stCondLst>
                                        </p:cTn>
                                        <p:tgtEl>
                                          <p:spTgt spid="49"/>
                                        </p:tgtEl>
                                        <p:attrNameLst>
                                          <p:attrName>style.visibility</p:attrName>
                                        </p:attrNameLst>
                                      </p:cBhvr>
                                      <p:to>
                                        <p:strVal val="visible"/>
                                      </p:to>
                                    </p:set>
                                  </p:childTnLst>
                                </p:cTn>
                              </p:par>
                            </p:childTnLst>
                          </p:cTn>
                        </p:par>
                        <p:par>
                          <p:cTn id="47" fill="hold">
                            <p:stCondLst>
                              <p:cond delay="150"/>
                            </p:stCondLst>
                            <p:childTnLst>
                              <p:par>
                                <p:cTn id="48" presetID="1" presetClass="entr" presetSubtype="0" fill="hold" nodeType="afterEffect">
                                  <p:stCondLst>
                                    <p:cond delay="0"/>
                                  </p:stCondLst>
                                  <p:childTnLst>
                                    <p:set>
                                      <p:cBhvr>
                                        <p:cTn id="49" dur="1" fill="hold">
                                          <p:stCondLst>
                                            <p:cond delay="49"/>
                                          </p:stCondLst>
                                        </p:cTn>
                                        <p:tgtEl>
                                          <p:spTgt spid="59"/>
                                        </p:tgtEl>
                                        <p:attrNameLst>
                                          <p:attrName>style.visibility</p:attrName>
                                        </p:attrNameLst>
                                      </p:cBhvr>
                                      <p:to>
                                        <p:strVal val="visible"/>
                                      </p:to>
                                    </p:set>
                                  </p:childTnLst>
                                </p:cTn>
                              </p:par>
                            </p:childTnLst>
                          </p:cTn>
                        </p:par>
                        <p:par>
                          <p:cTn id="50" fill="hold">
                            <p:stCondLst>
                              <p:cond delay="200"/>
                            </p:stCondLst>
                            <p:childTnLst>
                              <p:par>
                                <p:cTn id="51" presetID="1" presetClass="entr" presetSubtype="0" fill="hold" nodeType="afterEffect">
                                  <p:stCondLst>
                                    <p:cond delay="0"/>
                                  </p:stCondLst>
                                  <p:childTnLst>
                                    <p:set>
                                      <p:cBhvr>
                                        <p:cTn id="52" dur="1" fill="hold">
                                          <p:stCondLst>
                                            <p:cond delay="49"/>
                                          </p:stCondLst>
                                        </p:cTn>
                                        <p:tgtEl>
                                          <p:spTgt spid="54"/>
                                        </p:tgtEl>
                                        <p:attrNameLst>
                                          <p:attrName>style.visibility</p:attrName>
                                        </p:attrNameLst>
                                      </p:cBhvr>
                                      <p:to>
                                        <p:strVal val="visible"/>
                                      </p:to>
                                    </p:set>
                                  </p:childTnLst>
                                </p:cTn>
                              </p:par>
                            </p:childTnLst>
                          </p:cTn>
                        </p:par>
                        <p:par>
                          <p:cTn id="53" fill="hold">
                            <p:stCondLst>
                              <p:cond delay="250"/>
                            </p:stCondLst>
                            <p:childTnLst>
                              <p:par>
                                <p:cTn id="54" presetID="1" presetClass="entr" presetSubtype="0" fill="hold" nodeType="afterEffect">
                                  <p:stCondLst>
                                    <p:cond delay="0"/>
                                  </p:stCondLst>
                                  <p:childTnLst>
                                    <p:set>
                                      <p:cBhvr>
                                        <p:cTn id="55" dur="1" fill="hold">
                                          <p:stCondLst>
                                            <p:cond delay="49"/>
                                          </p:stCondLst>
                                        </p:cTn>
                                        <p:tgtEl>
                                          <p:spTgt spid="58"/>
                                        </p:tgtEl>
                                        <p:attrNameLst>
                                          <p:attrName>style.visibility</p:attrName>
                                        </p:attrNameLst>
                                      </p:cBhvr>
                                      <p:to>
                                        <p:strVal val="visible"/>
                                      </p:to>
                                    </p:set>
                                  </p:childTnLst>
                                </p:cTn>
                              </p:par>
                            </p:childTnLst>
                          </p:cTn>
                        </p:par>
                        <p:par>
                          <p:cTn id="56" fill="hold">
                            <p:stCondLst>
                              <p:cond delay="300"/>
                            </p:stCondLst>
                            <p:childTnLst>
                              <p:par>
                                <p:cTn id="57" presetID="1" presetClass="entr" presetSubtype="0" fill="hold" nodeType="afterEffect">
                                  <p:stCondLst>
                                    <p:cond delay="0"/>
                                  </p:stCondLst>
                                  <p:childTnLst>
                                    <p:set>
                                      <p:cBhvr>
                                        <p:cTn id="58" dur="1" fill="hold">
                                          <p:stCondLst>
                                            <p:cond delay="49"/>
                                          </p:stCondLst>
                                        </p:cTn>
                                        <p:tgtEl>
                                          <p:spTgt spid="73"/>
                                        </p:tgtEl>
                                        <p:attrNameLst>
                                          <p:attrName>style.visibility</p:attrName>
                                        </p:attrNameLst>
                                      </p:cBhvr>
                                      <p:to>
                                        <p:strVal val="visible"/>
                                      </p:to>
                                    </p:set>
                                  </p:childTnLst>
                                </p:cTn>
                              </p:par>
                            </p:childTnLst>
                          </p:cTn>
                        </p:par>
                        <p:par>
                          <p:cTn id="59" fill="hold">
                            <p:stCondLst>
                              <p:cond delay="350"/>
                            </p:stCondLst>
                            <p:childTnLst>
                              <p:par>
                                <p:cTn id="60" presetID="1" presetClass="entr" presetSubtype="0" fill="hold" nodeType="afterEffect">
                                  <p:stCondLst>
                                    <p:cond delay="0"/>
                                  </p:stCondLst>
                                  <p:childTnLst>
                                    <p:set>
                                      <p:cBhvr>
                                        <p:cTn id="61" dur="1" fill="hold">
                                          <p:stCondLst>
                                            <p:cond delay="49"/>
                                          </p:stCondLst>
                                        </p:cTn>
                                        <p:tgtEl>
                                          <p:spTgt spid="74"/>
                                        </p:tgtEl>
                                        <p:attrNameLst>
                                          <p:attrName>style.visibility</p:attrName>
                                        </p:attrNameLst>
                                      </p:cBhvr>
                                      <p:to>
                                        <p:strVal val="visible"/>
                                      </p:to>
                                    </p:set>
                                  </p:childTnLst>
                                </p:cTn>
                              </p:par>
                            </p:childTnLst>
                          </p:cTn>
                        </p:par>
                        <p:par>
                          <p:cTn id="62" fill="hold">
                            <p:stCondLst>
                              <p:cond delay="400"/>
                            </p:stCondLst>
                            <p:childTnLst>
                              <p:par>
                                <p:cTn id="63" presetID="1" presetClass="entr" presetSubtype="0" fill="hold" nodeType="afterEffect">
                                  <p:stCondLst>
                                    <p:cond delay="0"/>
                                  </p:stCondLst>
                                  <p:childTnLst>
                                    <p:set>
                                      <p:cBhvr>
                                        <p:cTn id="64" dur="1" fill="hold">
                                          <p:stCondLst>
                                            <p:cond delay="49"/>
                                          </p:stCondLst>
                                        </p:cTn>
                                        <p:tgtEl>
                                          <p:spTgt spid="72"/>
                                        </p:tgtEl>
                                        <p:attrNameLst>
                                          <p:attrName>style.visibility</p:attrName>
                                        </p:attrNameLst>
                                      </p:cBhvr>
                                      <p:to>
                                        <p:strVal val="visible"/>
                                      </p:to>
                                    </p:set>
                                  </p:childTnLst>
                                </p:cTn>
                              </p:par>
                            </p:childTnLst>
                          </p:cTn>
                        </p:par>
                        <p:par>
                          <p:cTn id="65" fill="hold">
                            <p:stCondLst>
                              <p:cond delay="450"/>
                            </p:stCondLst>
                            <p:childTnLst>
                              <p:par>
                                <p:cTn id="66" presetID="1" presetClass="entr" presetSubtype="0" fill="hold" nodeType="afterEffect">
                                  <p:stCondLst>
                                    <p:cond delay="0"/>
                                  </p:stCondLst>
                                  <p:childTnLst>
                                    <p:set>
                                      <p:cBhvr>
                                        <p:cTn id="67" dur="1" fill="hold">
                                          <p:stCondLst>
                                            <p:cond delay="49"/>
                                          </p:stCondLst>
                                        </p:cTn>
                                        <p:tgtEl>
                                          <p:spTgt spid="70"/>
                                        </p:tgtEl>
                                        <p:attrNameLst>
                                          <p:attrName>style.visibility</p:attrName>
                                        </p:attrNameLst>
                                      </p:cBhvr>
                                      <p:to>
                                        <p:strVal val="visible"/>
                                      </p:to>
                                    </p:set>
                                  </p:childTnLst>
                                </p:cTn>
                              </p:par>
                            </p:childTnLst>
                          </p:cTn>
                        </p:par>
                        <p:par>
                          <p:cTn id="68" fill="hold">
                            <p:stCondLst>
                              <p:cond delay="500"/>
                            </p:stCondLst>
                            <p:childTnLst>
                              <p:par>
                                <p:cTn id="69" presetID="1" presetClass="entr" presetSubtype="0" fill="hold" nodeType="afterEffect">
                                  <p:stCondLst>
                                    <p:cond delay="0"/>
                                  </p:stCondLst>
                                  <p:childTnLst>
                                    <p:set>
                                      <p:cBhvr>
                                        <p:cTn id="70" dur="1" fill="hold">
                                          <p:stCondLst>
                                            <p:cond delay="49"/>
                                          </p:stCondLst>
                                        </p:cTn>
                                        <p:tgtEl>
                                          <p:spTgt spid="71"/>
                                        </p:tgtEl>
                                        <p:attrNameLst>
                                          <p:attrName>style.visibility</p:attrName>
                                        </p:attrNameLst>
                                      </p:cBhvr>
                                      <p:to>
                                        <p:strVal val="visible"/>
                                      </p:to>
                                    </p:set>
                                  </p:childTnLst>
                                </p:cTn>
                              </p:par>
                            </p:childTnLst>
                          </p:cTn>
                        </p:par>
                        <p:par>
                          <p:cTn id="71" fill="hold">
                            <p:stCondLst>
                              <p:cond delay="550"/>
                            </p:stCondLst>
                            <p:childTnLst>
                              <p:par>
                                <p:cTn id="72" presetID="1" presetClass="entr" presetSubtype="0" fill="hold" nodeType="afterEffect">
                                  <p:stCondLst>
                                    <p:cond delay="0"/>
                                  </p:stCondLst>
                                  <p:childTnLst>
                                    <p:set>
                                      <p:cBhvr>
                                        <p:cTn id="73" dur="1" fill="hold">
                                          <p:stCondLst>
                                            <p:cond delay="49"/>
                                          </p:stCondLst>
                                        </p:cTn>
                                        <p:tgtEl>
                                          <p:spTgt spid="69"/>
                                        </p:tgtEl>
                                        <p:attrNameLst>
                                          <p:attrName>style.visibility</p:attrName>
                                        </p:attrNameLst>
                                      </p:cBhvr>
                                      <p:to>
                                        <p:strVal val="visible"/>
                                      </p:to>
                                    </p:set>
                                  </p:childTnLst>
                                </p:cTn>
                              </p:par>
                            </p:childTnLst>
                          </p:cTn>
                        </p:par>
                        <p:par>
                          <p:cTn id="74" fill="hold">
                            <p:stCondLst>
                              <p:cond delay="600"/>
                            </p:stCondLst>
                            <p:childTnLst>
                              <p:par>
                                <p:cTn id="75" presetID="1" presetClass="entr" presetSubtype="0" fill="hold" nodeType="afterEffect">
                                  <p:stCondLst>
                                    <p:cond delay="0"/>
                                  </p:stCondLst>
                                  <p:childTnLst>
                                    <p:set>
                                      <p:cBhvr>
                                        <p:cTn id="76" dur="1" fill="hold">
                                          <p:stCondLst>
                                            <p:cond delay="49"/>
                                          </p:stCondLst>
                                        </p:cTn>
                                        <p:tgtEl>
                                          <p:spTgt spid="66"/>
                                        </p:tgtEl>
                                        <p:attrNameLst>
                                          <p:attrName>style.visibility</p:attrName>
                                        </p:attrNameLst>
                                      </p:cBhvr>
                                      <p:to>
                                        <p:strVal val="visible"/>
                                      </p:to>
                                    </p:set>
                                  </p:childTnLst>
                                </p:cTn>
                              </p:par>
                            </p:childTnLst>
                          </p:cTn>
                        </p:par>
                        <p:par>
                          <p:cTn id="77" fill="hold">
                            <p:stCondLst>
                              <p:cond delay="650"/>
                            </p:stCondLst>
                            <p:childTnLst>
                              <p:par>
                                <p:cTn id="78" presetID="1" presetClass="entr" presetSubtype="0" fill="hold" nodeType="afterEffect">
                                  <p:stCondLst>
                                    <p:cond delay="0"/>
                                  </p:stCondLst>
                                  <p:childTnLst>
                                    <p:set>
                                      <p:cBhvr>
                                        <p:cTn id="79" dur="1" fill="hold">
                                          <p:stCondLst>
                                            <p:cond delay="49"/>
                                          </p:stCondLst>
                                        </p:cTn>
                                        <p:tgtEl>
                                          <p:spTgt spid="67"/>
                                        </p:tgtEl>
                                        <p:attrNameLst>
                                          <p:attrName>style.visibility</p:attrName>
                                        </p:attrNameLst>
                                      </p:cBhvr>
                                      <p:to>
                                        <p:strVal val="visible"/>
                                      </p:to>
                                    </p:set>
                                  </p:childTnLst>
                                </p:cTn>
                              </p:par>
                            </p:childTnLst>
                          </p:cTn>
                        </p:par>
                        <p:par>
                          <p:cTn id="80" fill="hold">
                            <p:stCondLst>
                              <p:cond delay="700"/>
                            </p:stCondLst>
                            <p:childTnLst>
                              <p:par>
                                <p:cTn id="81" presetID="1" presetClass="entr" presetSubtype="0" fill="hold" nodeType="afterEffect">
                                  <p:stCondLst>
                                    <p:cond delay="0"/>
                                  </p:stCondLst>
                                  <p:childTnLst>
                                    <p:set>
                                      <p:cBhvr>
                                        <p:cTn id="82" dur="1" fill="hold">
                                          <p:stCondLst>
                                            <p:cond delay="49"/>
                                          </p:stCondLst>
                                        </p:cTn>
                                        <p:tgtEl>
                                          <p:spTgt spid="68"/>
                                        </p:tgtEl>
                                        <p:attrNameLst>
                                          <p:attrName>style.visibility</p:attrName>
                                        </p:attrNameLst>
                                      </p:cBhvr>
                                      <p:to>
                                        <p:strVal val="visible"/>
                                      </p:to>
                                    </p:set>
                                  </p:childTnLst>
                                </p:cTn>
                              </p:par>
                            </p:childTnLst>
                          </p:cTn>
                        </p:par>
                        <p:par>
                          <p:cTn id="83" fill="hold">
                            <p:stCondLst>
                              <p:cond delay="750"/>
                            </p:stCondLst>
                            <p:childTnLst>
                              <p:par>
                                <p:cTn id="84" presetID="1" presetClass="entr" presetSubtype="0" fill="hold" nodeType="afterEffect">
                                  <p:stCondLst>
                                    <p:cond delay="0"/>
                                  </p:stCondLst>
                                  <p:childTnLst>
                                    <p:set>
                                      <p:cBhvr>
                                        <p:cTn id="85" dur="1" fill="hold">
                                          <p:stCondLst>
                                            <p:cond delay="49"/>
                                          </p:stCondLst>
                                        </p:cTn>
                                        <p:tgtEl>
                                          <p:spTgt spid="61"/>
                                        </p:tgtEl>
                                        <p:attrNameLst>
                                          <p:attrName>style.visibility</p:attrName>
                                        </p:attrNameLst>
                                      </p:cBhvr>
                                      <p:to>
                                        <p:strVal val="visible"/>
                                      </p:to>
                                    </p:set>
                                  </p:childTnLst>
                                </p:cTn>
                              </p:par>
                            </p:childTnLst>
                          </p:cTn>
                        </p:par>
                        <p:par>
                          <p:cTn id="86" fill="hold">
                            <p:stCondLst>
                              <p:cond delay="800"/>
                            </p:stCondLst>
                            <p:childTnLst>
                              <p:par>
                                <p:cTn id="87" presetID="1" presetClass="entr" presetSubtype="0" fill="hold" nodeType="afterEffect">
                                  <p:stCondLst>
                                    <p:cond delay="0"/>
                                  </p:stCondLst>
                                  <p:childTnLst>
                                    <p:set>
                                      <p:cBhvr>
                                        <p:cTn id="88" dur="1" fill="hold">
                                          <p:stCondLst>
                                            <p:cond delay="49"/>
                                          </p:stCondLst>
                                        </p:cTn>
                                        <p:tgtEl>
                                          <p:spTgt spid="62"/>
                                        </p:tgtEl>
                                        <p:attrNameLst>
                                          <p:attrName>style.visibility</p:attrName>
                                        </p:attrNameLst>
                                      </p:cBhvr>
                                      <p:to>
                                        <p:strVal val="visible"/>
                                      </p:to>
                                    </p:set>
                                  </p:childTnLst>
                                </p:cTn>
                              </p:par>
                            </p:childTnLst>
                          </p:cTn>
                        </p:par>
                        <p:par>
                          <p:cTn id="89" fill="hold">
                            <p:stCondLst>
                              <p:cond delay="850"/>
                            </p:stCondLst>
                            <p:childTnLst>
                              <p:par>
                                <p:cTn id="90" presetID="1" presetClass="entr" presetSubtype="0" fill="hold" nodeType="afterEffect">
                                  <p:stCondLst>
                                    <p:cond delay="0"/>
                                  </p:stCondLst>
                                  <p:childTnLst>
                                    <p:set>
                                      <p:cBhvr>
                                        <p:cTn id="91" dur="1" fill="hold">
                                          <p:stCondLst>
                                            <p:cond delay="49"/>
                                          </p:stCondLst>
                                        </p:cTn>
                                        <p:tgtEl>
                                          <p:spTgt spid="60"/>
                                        </p:tgtEl>
                                        <p:attrNameLst>
                                          <p:attrName>style.visibility</p:attrName>
                                        </p:attrNameLst>
                                      </p:cBhvr>
                                      <p:to>
                                        <p:strVal val="visible"/>
                                      </p:to>
                                    </p:set>
                                  </p:childTnLst>
                                </p:cTn>
                              </p:par>
                            </p:childTnLst>
                          </p:cTn>
                        </p:par>
                        <p:par>
                          <p:cTn id="92" fill="hold">
                            <p:stCondLst>
                              <p:cond delay="900"/>
                            </p:stCondLst>
                            <p:childTnLst>
                              <p:par>
                                <p:cTn id="93" presetID="1" presetClass="entr" presetSubtype="0" fill="hold" nodeType="afterEffect">
                                  <p:stCondLst>
                                    <p:cond delay="0"/>
                                  </p:stCondLst>
                                  <p:childTnLst>
                                    <p:set>
                                      <p:cBhvr>
                                        <p:cTn id="94" dur="1" fill="hold">
                                          <p:stCondLst>
                                            <p:cond delay="49"/>
                                          </p:stCondLst>
                                        </p:cTn>
                                        <p:tgtEl>
                                          <p:spTgt spid="65"/>
                                        </p:tgtEl>
                                        <p:attrNameLst>
                                          <p:attrName>style.visibility</p:attrName>
                                        </p:attrNameLst>
                                      </p:cBhvr>
                                      <p:to>
                                        <p:strVal val="visible"/>
                                      </p:to>
                                    </p:set>
                                  </p:childTnLst>
                                </p:cTn>
                              </p:par>
                            </p:childTnLst>
                          </p:cTn>
                        </p:par>
                        <p:par>
                          <p:cTn id="95" fill="hold">
                            <p:stCondLst>
                              <p:cond delay="950"/>
                            </p:stCondLst>
                            <p:childTnLst>
                              <p:par>
                                <p:cTn id="96" presetID="1" presetClass="entr" presetSubtype="0" fill="hold" nodeType="afterEffect">
                                  <p:stCondLst>
                                    <p:cond delay="0"/>
                                  </p:stCondLst>
                                  <p:childTnLst>
                                    <p:set>
                                      <p:cBhvr>
                                        <p:cTn id="97" dur="1" fill="hold">
                                          <p:stCondLst>
                                            <p:cond delay="49"/>
                                          </p:stCondLst>
                                        </p:cTn>
                                        <p:tgtEl>
                                          <p:spTgt spid="63"/>
                                        </p:tgtEl>
                                        <p:attrNameLst>
                                          <p:attrName>style.visibility</p:attrName>
                                        </p:attrNameLst>
                                      </p:cBhvr>
                                      <p:to>
                                        <p:strVal val="visible"/>
                                      </p:to>
                                    </p:set>
                                  </p:childTnLst>
                                </p:cTn>
                              </p:par>
                            </p:childTnLst>
                          </p:cTn>
                        </p:par>
                        <p:par>
                          <p:cTn id="98" fill="hold">
                            <p:stCondLst>
                              <p:cond delay="1000"/>
                            </p:stCondLst>
                            <p:childTnLst>
                              <p:par>
                                <p:cTn id="99" presetID="1" presetClass="entr" presetSubtype="0" fill="hold" nodeType="afterEffect">
                                  <p:stCondLst>
                                    <p:cond delay="0"/>
                                  </p:stCondLst>
                                  <p:childTnLst>
                                    <p:set>
                                      <p:cBhvr>
                                        <p:cTn id="100" dur="1" fill="hold">
                                          <p:stCondLst>
                                            <p:cond delay="49"/>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5" name="Group 74">
            <a:extLst>
              <a:ext uri="{FF2B5EF4-FFF2-40B4-BE49-F238E27FC236}">
                <a16:creationId xmlns:a16="http://schemas.microsoft.com/office/drawing/2014/main" id="{86D8CCCD-A7B6-4D4B-9A50-6864F264D947}"/>
              </a:ext>
            </a:extLst>
          </p:cNvPr>
          <p:cNvGrpSpPr/>
          <p:nvPr/>
        </p:nvGrpSpPr>
        <p:grpSpPr>
          <a:xfrm>
            <a:off x="-266070" y="3347369"/>
            <a:ext cx="12724140" cy="1567991"/>
            <a:chOff x="-393405" y="4213117"/>
            <a:chExt cx="12724140" cy="1567991"/>
          </a:xfrm>
        </p:grpSpPr>
        <p:grpSp>
          <p:nvGrpSpPr>
            <p:cNvPr id="76" name="Group 75">
              <a:extLst>
                <a:ext uri="{FF2B5EF4-FFF2-40B4-BE49-F238E27FC236}">
                  <a16:creationId xmlns:a16="http://schemas.microsoft.com/office/drawing/2014/main" id="{094A7D25-4A42-4874-8685-6AAFAACCD917}"/>
                </a:ext>
              </a:extLst>
            </p:cNvPr>
            <p:cNvGrpSpPr/>
            <p:nvPr/>
          </p:nvGrpSpPr>
          <p:grpSpPr>
            <a:xfrm>
              <a:off x="-393405" y="4213117"/>
              <a:ext cx="3451374" cy="1283333"/>
              <a:chOff x="-425488" y="4213117"/>
              <a:chExt cx="3451374" cy="1283333"/>
            </a:xfrm>
          </p:grpSpPr>
          <p:pic>
            <p:nvPicPr>
              <p:cNvPr id="81" name="Graphic 80">
                <a:extLst>
                  <a:ext uri="{FF2B5EF4-FFF2-40B4-BE49-F238E27FC236}">
                    <a16:creationId xmlns:a16="http://schemas.microsoft.com/office/drawing/2014/main" id="{8CAD0C73-85FE-47B8-891B-A78A13524CF7}"/>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b="18795"/>
              <a:stretch/>
            </p:blipFill>
            <p:spPr>
              <a:xfrm>
                <a:off x="895463" y="4674782"/>
                <a:ext cx="809473" cy="821668"/>
              </a:xfrm>
              <a:prstGeom prst="rect">
                <a:avLst/>
              </a:prstGeom>
            </p:spPr>
          </p:pic>
          <p:sp>
            <p:nvSpPr>
              <p:cNvPr id="82" name="TextBox 81">
                <a:extLst>
                  <a:ext uri="{FF2B5EF4-FFF2-40B4-BE49-F238E27FC236}">
                    <a16:creationId xmlns:a16="http://schemas.microsoft.com/office/drawing/2014/main" id="{1DD58401-97AE-4C5F-A510-7A42EBF9A9B6}"/>
                  </a:ext>
                </a:extLst>
              </p:cNvPr>
              <p:cNvSpPr txBox="1"/>
              <p:nvPr/>
            </p:nvSpPr>
            <p:spPr>
              <a:xfrm>
                <a:off x="-425488" y="4213117"/>
                <a:ext cx="3451374" cy="461665"/>
              </a:xfrm>
              <a:prstGeom prst="rect">
                <a:avLst/>
              </a:prstGeom>
              <a:noFill/>
            </p:spPr>
            <p:txBody>
              <a:bodyPr wrap="square" rtlCol="0">
                <a:spAutoFit/>
              </a:bodyPr>
              <a:lstStyle/>
              <a:p>
                <a:pPr algn="ctr"/>
                <a:r>
                  <a:rPr lang="en-US" sz="2400" dirty="0" err="1">
                    <a:solidFill>
                      <a:schemeClr val="bg1"/>
                    </a:solidFill>
                    <a:latin typeface="Quicksand Bold" pitchFamily="50" charset="0"/>
                  </a:rPr>
                  <a:t>ElderCare</a:t>
                </a:r>
                <a:endParaRPr lang="en-SG" sz="2400" dirty="0">
                  <a:solidFill>
                    <a:schemeClr val="bg1"/>
                  </a:solidFill>
                  <a:latin typeface="Quicksand Bold" pitchFamily="50" charset="0"/>
                </a:endParaRPr>
              </a:p>
            </p:txBody>
          </p:sp>
        </p:grpSp>
        <p:cxnSp>
          <p:nvCxnSpPr>
            <p:cNvPr id="77" name="Straight Connector 76">
              <a:extLst>
                <a:ext uri="{FF2B5EF4-FFF2-40B4-BE49-F238E27FC236}">
                  <a16:creationId xmlns:a16="http://schemas.microsoft.com/office/drawing/2014/main" id="{DE59A405-3728-42E6-945F-3F4B0140C781}"/>
                </a:ext>
              </a:extLst>
            </p:cNvPr>
            <p:cNvCxnSpPr>
              <a:cxnSpLocks/>
            </p:cNvCxnSpPr>
            <p:nvPr/>
          </p:nvCxnSpPr>
          <p:spPr>
            <a:xfrm>
              <a:off x="1332282" y="5781108"/>
              <a:ext cx="9272766" cy="0"/>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47A4A561-E28F-4294-B920-34521B438DA5}"/>
                </a:ext>
              </a:extLst>
            </p:cNvPr>
            <p:cNvGrpSpPr/>
            <p:nvPr/>
          </p:nvGrpSpPr>
          <p:grpSpPr>
            <a:xfrm>
              <a:off x="8879361" y="4288612"/>
              <a:ext cx="3451374" cy="1283333"/>
              <a:chOff x="-425488" y="4213117"/>
              <a:chExt cx="3451374" cy="1283333"/>
            </a:xfrm>
          </p:grpSpPr>
          <p:pic>
            <p:nvPicPr>
              <p:cNvPr id="79" name="Graphic 78">
                <a:extLst>
                  <a:ext uri="{FF2B5EF4-FFF2-40B4-BE49-F238E27FC236}">
                    <a16:creationId xmlns:a16="http://schemas.microsoft.com/office/drawing/2014/main" id="{381CA2B9-0436-485E-A1F0-85F69BC718A6}"/>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b="18795"/>
              <a:stretch/>
            </p:blipFill>
            <p:spPr>
              <a:xfrm>
                <a:off x="895463" y="4674782"/>
                <a:ext cx="809473" cy="821668"/>
              </a:xfrm>
              <a:prstGeom prst="rect">
                <a:avLst/>
              </a:prstGeom>
            </p:spPr>
          </p:pic>
          <p:sp>
            <p:nvSpPr>
              <p:cNvPr id="80" name="TextBox 79">
                <a:extLst>
                  <a:ext uri="{FF2B5EF4-FFF2-40B4-BE49-F238E27FC236}">
                    <a16:creationId xmlns:a16="http://schemas.microsoft.com/office/drawing/2014/main" id="{300E8C18-112E-4EEB-A670-3185A372E42B}"/>
                  </a:ext>
                </a:extLst>
              </p:cNvPr>
              <p:cNvSpPr txBox="1"/>
              <p:nvPr/>
            </p:nvSpPr>
            <p:spPr>
              <a:xfrm>
                <a:off x="-425488" y="4213117"/>
                <a:ext cx="3451374" cy="461665"/>
              </a:xfrm>
              <a:prstGeom prst="rect">
                <a:avLst/>
              </a:prstGeom>
              <a:noFill/>
            </p:spPr>
            <p:txBody>
              <a:bodyPr wrap="square" rtlCol="0">
                <a:spAutoFit/>
              </a:bodyPr>
              <a:lstStyle/>
              <a:p>
                <a:pPr algn="ctr"/>
                <a:r>
                  <a:rPr lang="en-US" sz="2400" dirty="0">
                    <a:solidFill>
                      <a:schemeClr val="bg1"/>
                    </a:solidFill>
                    <a:latin typeface="Quicksand Bold" pitchFamily="50" charset="0"/>
                  </a:rPr>
                  <a:t>Household</a:t>
                </a:r>
                <a:endParaRPr lang="en-SG" sz="2400" dirty="0">
                  <a:solidFill>
                    <a:schemeClr val="bg1"/>
                  </a:solidFill>
                  <a:latin typeface="Quicksand Bold" pitchFamily="50" charset="0"/>
                </a:endParaRPr>
              </a:p>
            </p:txBody>
          </p:sp>
        </p:grpSp>
      </p:grpSp>
      <p:sp>
        <p:nvSpPr>
          <p:cNvPr id="16" name="Rectangle 15">
            <a:extLst>
              <a:ext uri="{FF2B5EF4-FFF2-40B4-BE49-F238E27FC236}">
                <a16:creationId xmlns:a16="http://schemas.microsoft.com/office/drawing/2014/main" id="{7C66D3C1-4A81-4238-A51C-03BEA3970488}"/>
              </a:ext>
            </a:extLst>
          </p:cNvPr>
          <p:cNvSpPr/>
          <p:nvPr/>
        </p:nvSpPr>
        <p:spPr>
          <a:xfrm>
            <a:off x="0" y="914400"/>
            <a:ext cx="10570789" cy="57258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39333D0F-D1AE-4AE0-92D2-8E58CE74A326}"/>
              </a:ext>
            </a:extLst>
          </p:cNvPr>
          <p:cNvGrpSpPr/>
          <p:nvPr/>
        </p:nvGrpSpPr>
        <p:grpSpPr>
          <a:xfrm>
            <a:off x="4509844" y="1052577"/>
            <a:ext cx="6171344" cy="4714281"/>
            <a:chOff x="4509844" y="1052577"/>
            <a:chExt cx="6171344" cy="4714281"/>
          </a:xfrm>
        </p:grpSpPr>
        <p:grpSp>
          <p:nvGrpSpPr>
            <p:cNvPr id="43" name="Group 42">
              <a:extLst>
                <a:ext uri="{FF2B5EF4-FFF2-40B4-BE49-F238E27FC236}">
                  <a16:creationId xmlns:a16="http://schemas.microsoft.com/office/drawing/2014/main" id="{6C350F62-7E08-4E55-B3C6-F39260B58FAB}"/>
                </a:ext>
              </a:extLst>
            </p:cNvPr>
            <p:cNvGrpSpPr/>
            <p:nvPr/>
          </p:nvGrpSpPr>
          <p:grpSpPr>
            <a:xfrm>
              <a:off x="9816803" y="1669256"/>
              <a:ext cx="287419" cy="287419"/>
              <a:chOff x="8611703" y="3477061"/>
              <a:chExt cx="642938" cy="642938"/>
            </a:xfrm>
          </p:grpSpPr>
          <p:pic>
            <p:nvPicPr>
              <p:cNvPr id="50" name="Graphic 49">
                <a:extLst>
                  <a:ext uri="{FF2B5EF4-FFF2-40B4-BE49-F238E27FC236}">
                    <a16:creationId xmlns:a16="http://schemas.microsoft.com/office/drawing/2014/main" id="{BF11197F-A6FC-43D4-A7F1-5DAE91A5074D}"/>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5147" t="7303" r="17721" b="70266"/>
              <a:stretch/>
            </p:blipFill>
            <p:spPr>
              <a:xfrm>
                <a:off x="8668855" y="3528309"/>
                <a:ext cx="532295" cy="543629"/>
              </a:xfrm>
              <a:prstGeom prst="rect">
                <a:avLst/>
              </a:prstGeom>
            </p:spPr>
          </p:pic>
          <p:sp>
            <p:nvSpPr>
              <p:cNvPr id="51" name="Rectangle 50">
                <a:extLst>
                  <a:ext uri="{FF2B5EF4-FFF2-40B4-BE49-F238E27FC236}">
                    <a16:creationId xmlns:a16="http://schemas.microsoft.com/office/drawing/2014/main" id="{65B099E7-83ED-4001-8EBE-ECFA7D866633}"/>
                  </a:ext>
                </a:extLst>
              </p:cNvPr>
              <p:cNvSpPr/>
              <p:nvPr/>
            </p:nvSpPr>
            <p:spPr>
              <a:xfrm>
                <a:off x="8611703" y="3477061"/>
                <a:ext cx="642938" cy="642938"/>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nvGrpSpPr>
            <p:cNvPr id="9" name="Group 8">
              <a:extLst>
                <a:ext uri="{FF2B5EF4-FFF2-40B4-BE49-F238E27FC236}">
                  <a16:creationId xmlns:a16="http://schemas.microsoft.com/office/drawing/2014/main" id="{597A3E73-4AB0-46F5-B94B-89C3B48B893B}"/>
                </a:ext>
              </a:extLst>
            </p:cNvPr>
            <p:cNvGrpSpPr/>
            <p:nvPr/>
          </p:nvGrpSpPr>
          <p:grpSpPr>
            <a:xfrm>
              <a:off x="4509844" y="1052577"/>
              <a:ext cx="6171344" cy="4714281"/>
              <a:chOff x="4509844" y="1052577"/>
              <a:chExt cx="6171344" cy="4714281"/>
            </a:xfrm>
          </p:grpSpPr>
          <p:grpSp>
            <p:nvGrpSpPr>
              <p:cNvPr id="3" name="Group 2">
                <a:extLst>
                  <a:ext uri="{FF2B5EF4-FFF2-40B4-BE49-F238E27FC236}">
                    <a16:creationId xmlns:a16="http://schemas.microsoft.com/office/drawing/2014/main" id="{B3D2B94B-8107-4BF4-8817-8BEF041491BC}"/>
                  </a:ext>
                </a:extLst>
              </p:cNvPr>
              <p:cNvGrpSpPr/>
              <p:nvPr/>
            </p:nvGrpSpPr>
            <p:grpSpPr>
              <a:xfrm>
                <a:off x="4509844" y="1052577"/>
                <a:ext cx="6171344" cy="4714281"/>
                <a:chOff x="4509844" y="1052577"/>
                <a:chExt cx="6171344" cy="4714281"/>
              </a:xfrm>
            </p:grpSpPr>
            <p:grpSp>
              <p:nvGrpSpPr>
                <p:cNvPr id="35" name="Group 34">
                  <a:extLst>
                    <a:ext uri="{FF2B5EF4-FFF2-40B4-BE49-F238E27FC236}">
                      <a16:creationId xmlns:a16="http://schemas.microsoft.com/office/drawing/2014/main" id="{FD461423-B7E5-4F58-9F7F-57D66AE665F6}"/>
                    </a:ext>
                  </a:extLst>
                </p:cNvPr>
                <p:cNvGrpSpPr/>
                <p:nvPr/>
              </p:nvGrpSpPr>
              <p:grpSpPr>
                <a:xfrm>
                  <a:off x="4509844" y="1288170"/>
                  <a:ext cx="6171344" cy="4478688"/>
                  <a:chOff x="4509844" y="1288170"/>
                  <a:chExt cx="6171344" cy="4478688"/>
                </a:xfrm>
              </p:grpSpPr>
              <p:pic>
                <p:nvPicPr>
                  <p:cNvPr id="34" name="Graphic 33">
                    <a:extLst>
                      <a:ext uri="{FF2B5EF4-FFF2-40B4-BE49-F238E27FC236}">
                        <a16:creationId xmlns:a16="http://schemas.microsoft.com/office/drawing/2014/main" id="{4461C716-6DE5-4A0C-8AC8-B1C25D5924B8}"/>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3577"/>
                  <a:stretch/>
                </p:blipFill>
                <p:spPr>
                  <a:xfrm>
                    <a:off x="7026395" y="1288170"/>
                    <a:ext cx="3654793" cy="3948224"/>
                  </a:xfrm>
                  <a:prstGeom prst="rect">
                    <a:avLst/>
                  </a:prstGeom>
                </p:spPr>
              </p:pic>
              <p:pic>
                <p:nvPicPr>
                  <p:cNvPr id="52" name="Graphic 51">
                    <a:extLst>
                      <a:ext uri="{FF2B5EF4-FFF2-40B4-BE49-F238E27FC236}">
                        <a16:creationId xmlns:a16="http://schemas.microsoft.com/office/drawing/2014/main" id="{347BDF60-CA7C-4128-BFA5-7127CF12E030}"/>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l="2472" t="13101" r="28" b="36217"/>
                  <a:stretch/>
                </p:blipFill>
                <p:spPr>
                  <a:xfrm rot="9732610" flipH="1">
                    <a:off x="6898385" y="4934681"/>
                    <a:ext cx="1071562" cy="603425"/>
                  </a:xfrm>
                  <a:prstGeom prst="rect">
                    <a:avLst/>
                  </a:prstGeom>
                </p:spPr>
              </p:pic>
              <p:sp>
                <p:nvSpPr>
                  <p:cNvPr id="53" name="TextBox 52">
                    <a:extLst>
                      <a:ext uri="{FF2B5EF4-FFF2-40B4-BE49-F238E27FC236}">
                        <a16:creationId xmlns:a16="http://schemas.microsoft.com/office/drawing/2014/main" id="{CAC9AD11-8D28-42F1-8D1E-18859EA66677}"/>
                      </a:ext>
                    </a:extLst>
                  </p:cNvPr>
                  <p:cNvSpPr txBox="1"/>
                  <p:nvPr/>
                </p:nvSpPr>
                <p:spPr>
                  <a:xfrm rot="21264721">
                    <a:off x="4509844" y="5243638"/>
                    <a:ext cx="3451374" cy="523220"/>
                  </a:xfrm>
                  <a:prstGeom prst="rect">
                    <a:avLst/>
                  </a:prstGeom>
                  <a:noFill/>
                </p:spPr>
                <p:txBody>
                  <a:bodyPr wrap="square" rtlCol="0">
                    <a:spAutoFit/>
                  </a:bodyPr>
                  <a:lstStyle/>
                  <a:p>
                    <a:pPr algn="ctr"/>
                    <a:r>
                      <a:rPr lang="en-US" sz="2800" dirty="0">
                        <a:solidFill>
                          <a:schemeClr val="bg1"/>
                        </a:solidFill>
                        <a:latin typeface="Quicksand Bold" pitchFamily="50" charset="0"/>
                      </a:rPr>
                      <a:t>HOMEBO</a:t>
                    </a:r>
                    <a:endParaRPr lang="en-SG" sz="2800" dirty="0">
                      <a:solidFill>
                        <a:schemeClr val="bg1"/>
                      </a:solidFill>
                      <a:latin typeface="Quicksand Bold" pitchFamily="50" charset="0"/>
                    </a:endParaRPr>
                  </a:p>
                </p:txBody>
              </p:sp>
            </p:grpSp>
            <p:pic>
              <p:nvPicPr>
                <p:cNvPr id="42" name="Graphic 41">
                  <a:extLst>
                    <a:ext uri="{FF2B5EF4-FFF2-40B4-BE49-F238E27FC236}">
                      <a16:creationId xmlns:a16="http://schemas.microsoft.com/office/drawing/2014/main" id="{E3F18835-E8B0-480F-8C53-73D65D265D0A}"/>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r="-509" b="23542"/>
                <a:stretch/>
              </p:blipFill>
              <p:spPr>
                <a:xfrm>
                  <a:off x="9162137" y="1052577"/>
                  <a:ext cx="1219200" cy="1159324"/>
                </a:xfrm>
                <a:prstGeom prst="rect">
                  <a:avLst/>
                </a:prstGeom>
              </p:spPr>
            </p:pic>
          </p:grpSp>
          <p:grpSp>
            <p:nvGrpSpPr>
              <p:cNvPr id="45" name="Group 44">
                <a:extLst>
                  <a:ext uri="{FF2B5EF4-FFF2-40B4-BE49-F238E27FC236}">
                    <a16:creationId xmlns:a16="http://schemas.microsoft.com/office/drawing/2014/main" id="{A00926A9-D72B-4021-A1A8-B0A13996E878}"/>
                  </a:ext>
                </a:extLst>
              </p:cNvPr>
              <p:cNvGrpSpPr/>
              <p:nvPr/>
            </p:nvGrpSpPr>
            <p:grpSpPr>
              <a:xfrm>
                <a:off x="9429045" y="1663418"/>
                <a:ext cx="287419" cy="287419"/>
                <a:chOff x="8453722" y="2748961"/>
                <a:chExt cx="523439" cy="523439"/>
              </a:xfrm>
            </p:grpSpPr>
            <p:pic>
              <p:nvPicPr>
                <p:cNvPr id="46" name="Graphic 45">
                  <a:extLst>
                    <a:ext uri="{FF2B5EF4-FFF2-40B4-BE49-F238E27FC236}">
                      <a16:creationId xmlns:a16="http://schemas.microsoft.com/office/drawing/2014/main" id="{1A8D184B-299B-44D5-AB08-90F0736B1BF8}"/>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l="53569" t="7198" r="15603" b="69353"/>
                <a:stretch/>
              </p:blipFill>
              <p:spPr>
                <a:xfrm>
                  <a:off x="8479915" y="2788089"/>
                  <a:ext cx="471054" cy="442588"/>
                </a:xfrm>
                <a:prstGeom prst="rect">
                  <a:avLst/>
                </a:prstGeom>
              </p:spPr>
            </p:pic>
            <p:sp>
              <p:nvSpPr>
                <p:cNvPr id="48" name="Rectangle 47">
                  <a:extLst>
                    <a:ext uri="{FF2B5EF4-FFF2-40B4-BE49-F238E27FC236}">
                      <a16:creationId xmlns:a16="http://schemas.microsoft.com/office/drawing/2014/main" id="{64728C88-74C9-457C-9E67-CAF1DC6CF51F}"/>
                    </a:ext>
                  </a:extLst>
                </p:cNvPr>
                <p:cNvSpPr/>
                <p:nvPr/>
              </p:nvSpPr>
              <p:spPr>
                <a:xfrm>
                  <a:off x="8453722" y="2748961"/>
                  <a:ext cx="523439" cy="523439"/>
                </a:xfrm>
                <a:prstGeom prst="rect">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grpSp>
      </p:grpSp>
      <p:grpSp>
        <p:nvGrpSpPr>
          <p:cNvPr id="21" name="Group 20">
            <a:extLst>
              <a:ext uri="{FF2B5EF4-FFF2-40B4-BE49-F238E27FC236}">
                <a16:creationId xmlns:a16="http://schemas.microsoft.com/office/drawing/2014/main" id="{71E90EA1-5894-4E7E-A7F6-4814B791E2D7}"/>
              </a:ext>
            </a:extLst>
          </p:cNvPr>
          <p:cNvGrpSpPr/>
          <p:nvPr/>
        </p:nvGrpSpPr>
        <p:grpSpPr>
          <a:xfrm>
            <a:off x="8784532" y="3105589"/>
            <a:ext cx="2060688" cy="2083155"/>
            <a:chOff x="8784532" y="3105589"/>
            <a:chExt cx="2060688" cy="2083155"/>
          </a:xfrm>
        </p:grpSpPr>
        <p:sp>
          <p:nvSpPr>
            <p:cNvPr id="18" name="Rectangle: Rounded Corners 17">
              <a:extLst>
                <a:ext uri="{FF2B5EF4-FFF2-40B4-BE49-F238E27FC236}">
                  <a16:creationId xmlns:a16="http://schemas.microsoft.com/office/drawing/2014/main" id="{C4C87B43-B5C0-4445-816B-4829F17E7D38}"/>
                </a:ext>
              </a:extLst>
            </p:cNvPr>
            <p:cNvSpPr/>
            <p:nvPr/>
          </p:nvSpPr>
          <p:spPr>
            <a:xfrm>
              <a:off x="9058963" y="3932385"/>
              <a:ext cx="1511826" cy="465883"/>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pic>
          <p:nvPicPr>
            <p:cNvPr id="17" name="Graphic 16">
              <a:extLst>
                <a:ext uri="{FF2B5EF4-FFF2-40B4-BE49-F238E27FC236}">
                  <a16:creationId xmlns:a16="http://schemas.microsoft.com/office/drawing/2014/main" id="{C0E6D927-A317-411E-836B-40AF8911FA37}"/>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19128"/>
            <a:stretch/>
          </p:blipFill>
          <p:spPr>
            <a:xfrm>
              <a:off x="8784532" y="3105589"/>
              <a:ext cx="2060688" cy="2083155"/>
            </a:xfrm>
            <a:prstGeom prst="rect">
              <a:avLst/>
            </a:prstGeom>
          </p:spPr>
        </p:pic>
        <p:pic>
          <p:nvPicPr>
            <p:cNvPr id="44" name="Graphic 43">
              <a:extLst>
                <a:ext uri="{FF2B5EF4-FFF2-40B4-BE49-F238E27FC236}">
                  <a16:creationId xmlns:a16="http://schemas.microsoft.com/office/drawing/2014/main" id="{B267B18E-0896-474E-809D-08B4BE56EBE7}"/>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l="55147" t="7303" r="17721" b="70266"/>
            <a:stretch/>
          </p:blipFill>
          <p:spPr>
            <a:xfrm>
              <a:off x="9097905" y="3946861"/>
              <a:ext cx="146980" cy="150110"/>
            </a:xfrm>
            <a:prstGeom prst="rect">
              <a:avLst/>
            </a:prstGeom>
          </p:spPr>
        </p:pic>
        <p:pic>
          <p:nvPicPr>
            <p:cNvPr id="47" name="Graphic 46">
              <a:extLst>
                <a:ext uri="{FF2B5EF4-FFF2-40B4-BE49-F238E27FC236}">
                  <a16:creationId xmlns:a16="http://schemas.microsoft.com/office/drawing/2014/main" id="{6D23B00A-84FE-4792-9B6E-EA9560CEFA59}"/>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20"/>
                </a:ext>
              </a:extLst>
            </a:blip>
            <a:srcRect l="55147" t="7303" r="17721" b="70266"/>
            <a:stretch/>
          </p:blipFill>
          <p:spPr>
            <a:xfrm>
              <a:off x="9098523" y="4073347"/>
              <a:ext cx="146980" cy="150110"/>
            </a:xfrm>
            <a:prstGeom prst="rect">
              <a:avLst/>
            </a:prstGeom>
          </p:spPr>
        </p:pic>
        <p:pic>
          <p:nvPicPr>
            <p:cNvPr id="49" name="Graphic 48">
              <a:extLst>
                <a:ext uri="{FF2B5EF4-FFF2-40B4-BE49-F238E27FC236}">
                  <a16:creationId xmlns:a16="http://schemas.microsoft.com/office/drawing/2014/main" id="{4282102A-D874-4153-8F5B-E8EDE9E4FEB7}"/>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l="53569" t="7198" r="15603" b="69353"/>
            <a:stretch/>
          </p:blipFill>
          <p:spPr>
            <a:xfrm>
              <a:off x="9101607" y="4215471"/>
              <a:ext cx="148564" cy="139585"/>
            </a:xfrm>
            <a:prstGeom prst="rect">
              <a:avLst/>
            </a:prstGeom>
          </p:spPr>
        </p:pic>
        <p:pic>
          <p:nvPicPr>
            <p:cNvPr id="54" name="Graphic 53">
              <a:extLst>
                <a:ext uri="{FF2B5EF4-FFF2-40B4-BE49-F238E27FC236}">
                  <a16:creationId xmlns:a16="http://schemas.microsoft.com/office/drawing/2014/main" id="{2A0AD821-C646-4B71-919C-69590CDE7809}"/>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20"/>
                </a:ext>
              </a:extLst>
            </a:blip>
            <a:srcRect l="55147" t="7303" r="17721" b="70266"/>
            <a:stretch/>
          </p:blipFill>
          <p:spPr>
            <a:xfrm>
              <a:off x="9315264" y="4078290"/>
              <a:ext cx="146980" cy="150110"/>
            </a:xfrm>
            <a:prstGeom prst="rect">
              <a:avLst/>
            </a:prstGeom>
          </p:spPr>
        </p:pic>
        <p:pic>
          <p:nvPicPr>
            <p:cNvPr id="58" name="Graphic 57">
              <a:extLst>
                <a:ext uri="{FF2B5EF4-FFF2-40B4-BE49-F238E27FC236}">
                  <a16:creationId xmlns:a16="http://schemas.microsoft.com/office/drawing/2014/main" id="{F4D1EB96-9D5B-47A7-B7BA-6E1BF4A0E4C5}"/>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20"/>
                </a:ext>
              </a:extLst>
            </a:blip>
            <a:srcRect l="55147" t="7303" r="17721" b="70266"/>
            <a:stretch/>
          </p:blipFill>
          <p:spPr>
            <a:xfrm>
              <a:off x="9315882" y="4204776"/>
              <a:ext cx="146980" cy="150110"/>
            </a:xfrm>
            <a:prstGeom prst="rect">
              <a:avLst/>
            </a:prstGeom>
          </p:spPr>
        </p:pic>
        <p:pic>
          <p:nvPicPr>
            <p:cNvPr id="59" name="Graphic 58">
              <a:extLst>
                <a:ext uri="{FF2B5EF4-FFF2-40B4-BE49-F238E27FC236}">
                  <a16:creationId xmlns:a16="http://schemas.microsoft.com/office/drawing/2014/main" id="{E37FF319-5E34-458D-808B-58E4E386AAF0}"/>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3"/>
                </a:ext>
              </a:extLst>
            </a:blip>
            <a:srcRect l="53569" t="7198" r="15603" b="69353"/>
            <a:stretch/>
          </p:blipFill>
          <p:spPr>
            <a:xfrm>
              <a:off x="9317712" y="3953555"/>
              <a:ext cx="148564" cy="139585"/>
            </a:xfrm>
            <a:prstGeom prst="rect">
              <a:avLst/>
            </a:prstGeom>
          </p:spPr>
        </p:pic>
        <p:pic>
          <p:nvPicPr>
            <p:cNvPr id="60" name="Graphic 59">
              <a:extLst>
                <a:ext uri="{FF2B5EF4-FFF2-40B4-BE49-F238E27FC236}">
                  <a16:creationId xmlns:a16="http://schemas.microsoft.com/office/drawing/2014/main" id="{52039410-9CE1-452A-A4CF-5456AEC20105}"/>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20"/>
                </a:ext>
              </a:extLst>
            </a:blip>
            <a:srcRect l="55147" t="7303" r="17721" b="70266"/>
            <a:stretch/>
          </p:blipFill>
          <p:spPr>
            <a:xfrm>
              <a:off x="10156865" y="4204776"/>
              <a:ext cx="146980" cy="150110"/>
            </a:xfrm>
            <a:prstGeom prst="rect">
              <a:avLst/>
            </a:prstGeom>
          </p:spPr>
        </p:pic>
        <p:pic>
          <p:nvPicPr>
            <p:cNvPr id="61" name="Graphic 60">
              <a:extLst>
                <a:ext uri="{FF2B5EF4-FFF2-40B4-BE49-F238E27FC236}">
                  <a16:creationId xmlns:a16="http://schemas.microsoft.com/office/drawing/2014/main" id="{403F4D29-96B4-45CC-A94A-BDC4AAEFA4AF}"/>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20"/>
                </a:ext>
              </a:extLst>
            </a:blip>
            <a:srcRect l="55147" t="7303" r="17721" b="70266"/>
            <a:stretch/>
          </p:blipFill>
          <p:spPr>
            <a:xfrm>
              <a:off x="10161428" y="3946861"/>
              <a:ext cx="146980" cy="150110"/>
            </a:xfrm>
            <a:prstGeom prst="rect">
              <a:avLst/>
            </a:prstGeom>
          </p:spPr>
        </p:pic>
        <p:pic>
          <p:nvPicPr>
            <p:cNvPr id="62" name="Graphic 61">
              <a:extLst>
                <a:ext uri="{FF2B5EF4-FFF2-40B4-BE49-F238E27FC236}">
                  <a16:creationId xmlns:a16="http://schemas.microsoft.com/office/drawing/2014/main" id="{B73493B9-5E73-419D-842D-1AF13DFCF557}"/>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3"/>
                </a:ext>
              </a:extLst>
            </a:blip>
            <a:srcRect l="53569" t="7198" r="15603" b="69353"/>
            <a:stretch/>
          </p:blipFill>
          <p:spPr>
            <a:xfrm>
              <a:off x="10159313" y="4083872"/>
              <a:ext cx="148564" cy="139585"/>
            </a:xfrm>
            <a:prstGeom prst="rect">
              <a:avLst/>
            </a:prstGeom>
          </p:spPr>
        </p:pic>
        <p:pic>
          <p:nvPicPr>
            <p:cNvPr id="63" name="Graphic 62">
              <a:extLst>
                <a:ext uri="{FF2B5EF4-FFF2-40B4-BE49-F238E27FC236}">
                  <a16:creationId xmlns:a16="http://schemas.microsoft.com/office/drawing/2014/main" id="{2723E1A8-CB10-41FC-8577-D8D21B4750C1}"/>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20"/>
                </a:ext>
              </a:extLst>
            </a:blip>
            <a:srcRect l="55147" t="7303" r="17721" b="70266"/>
            <a:stretch/>
          </p:blipFill>
          <p:spPr>
            <a:xfrm>
              <a:off x="10376111" y="4080751"/>
              <a:ext cx="146980" cy="150110"/>
            </a:xfrm>
            <a:prstGeom prst="rect">
              <a:avLst/>
            </a:prstGeom>
          </p:spPr>
        </p:pic>
        <p:pic>
          <p:nvPicPr>
            <p:cNvPr id="64" name="Graphic 63">
              <a:extLst>
                <a:ext uri="{FF2B5EF4-FFF2-40B4-BE49-F238E27FC236}">
                  <a16:creationId xmlns:a16="http://schemas.microsoft.com/office/drawing/2014/main" id="{C5736705-A9B4-460F-B4D7-C85F7B43C029}"/>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20"/>
                </a:ext>
              </a:extLst>
            </a:blip>
            <a:srcRect l="55147" t="7303" r="17721" b="70266"/>
            <a:stretch/>
          </p:blipFill>
          <p:spPr>
            <a:xfrm>
              <a:off x="10376729" y="4207237"/>
              <a:ext cx="146980" cy="150110"/>
            </a:xfrm>
            <a:prstGeom prst="rect">
              <a:avLst/>
            </a:prstGeom>
          </p:spPr>
        </p:pic>
        <p:pic>
          <p:nvPicPr>
            <p:cNvPr id="65" name="Graphic 64">
              <a:extLst>
                <a:ext uri="{FF2B5EF4-FFF2-40B4-BE49-F238E27FC236}">
                  <a16:creationId xmlns:a16="http://schemas.microsoft.com/office/drawing/2014/main" id="{21CD132B-A967-4855-87D8-9E5162EA82C9}"/>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3"/>
                </a:ext>
              </a:extLst>
            </a:blip>
            <a:srcRect l="53569" t="7198" r="15603" b="69353"/>
            <a:stretch/>
          </p:blipFill>
          <p:spPr>
            <a:xfrm>
              <a:off x="10378559" y="3956016"/>
              <a:ext cx="148564" cy="139585"/>
            </a:xfrm>
            <a:prstGeom prst="rect">
              <a:avLst/>
            </a:prstGeom>
          </p:spPr>
        </p:pic>
        <p:pic>
          <p:nvPicPr>
            <p:cNvPr id="66" name="Graphic 65">
              <a:extLst>
                <a:ext uri="{FF2B5EF4-FFF2-40B4-BE49-F238E27FC236}">
                  <a16:creationId xmlns:a16="http://schemas.microsoft.com/office/drawing/2014/main" id="{28087745-9134-40CE-ABC0-8E33F511AADC}"/>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3"/>
                </a:ext>
              </a:extLst>
            </a:blip>
            <a:srcRect l="53569" t="7198" r="15603" b="69353"/>
            <a:stretch/>
          </p:blipFill>
          <p:spPr>
            <a:xfrm>
              <a:off x="9945731" y="3950563"/>
              <a:ext cx="148564" cy="139585"/>
            </a:xfrm>
            <a:prstGeom prst="rect">
              <a:avLst/>
            </a:prstGeom>
          </p:spPr>
        </p:pic>
        <p:pic>
          <p:nvPicPr>
            <p:cNvPr id="67" name="Graphic 66">
              <a:extLst>
                <a:ext uri="{FF2B5EF4-FFF2-40B4-BE49-F238E27FC236}">
                  <a16:creationId xmlns:a16="http://schemas.microsoft.com/office/drawing/2014/main" id="{C2B07071-F741-4D60-AED2-BFB1E66FC55C}"/>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3"/>
                </a:ext>
              </a:extLst>
            </a:blip>
            <a:srcRect l="53569" t="7198" r="15603" b="69353"/>
            <a:stretch/>
          </p:blipFill>
          <p:spPr>
            <a:xfrm>
              <a:off x="9945731" y="4082891"/>
              <a:ext cx="148564" cy="139585"/>
            </a:xfrm>
            <a:prstGeom prst="rect">
              <a:avLst/>
            </a:prstGeom>
          </p:spPr>
        </p:pic>
        <p:pic>
          <p:nvPicPr>
            <p:cNvPr id="68" name="Graphic 67">
              <a:extLst>
                <a:ext uri="{FF2B5EF4-FFF2-40B4-BE49-F238E27FC236}">
                  <a16:creationId xmlns:a16="http://schemas.microsoft.com/office/drawing/2014/main" id="{F9D3F2BA-2C37-4D5D-96A2-B0E537B2E072}"/>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20"/>
                </a:ext>
              </a:extLst>
            </a:blip>
            <a:srcRect l="55147" t="7303" r="17721" b="70266"/>
            <a:stretch/>
          </p:blipFill>
          <p:spPr>
            <a:xfrm>
              <a:off x="9951806" y="4212173"/>
              <a:ext cx="146980" cy="150110"/>
            </a:xfrm>
            <a:prstGeom prst="rect">
              <a:avLst/>
            </a:prstGeom>
          </p:spPr>
        </p:pic>
        <p:pic>
          <p:nvPicPr>
            <p:cNvPr id="69" name="Graphic 68">
              <a:extLst>
                <a:ext uri="{FF2B5EF4-FFF2-40B4-BE49-F238E27FC236}">
                  <a16:creationId xmlns:a16="http://schemas.microsoft.com/office/drawing/2014/main" id="{FDD9E3EC-7DE3-4914-8E42-5A976EA129E7}"/>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3"/>
                </a:ext>
              </a:extLst>
            </a:blip>
            <a:srcRect l="53569" t="7198" r="15603" b="69353"/>
            <a:stretch/>
          </p:blipFill>
          <p:spPr>
            <a:xfrm>
              <a:off x="9731890" y="4217435"/>
              <a:ext cx="148564" cy="139585"/>
            </a:xfrm>
            <a:prstGeom prst="rect">
              <a:avLst/>
            </a:prstGeom>
          </p:spPr>
        </p:pic>
        <p:pic>
          <p:nvPicPr>
            <p:cNvPr id="70" name="Graphic 69">
              <a:extLst>
                <a:ext uri="{FF2B5EF4-FFF2-40B4-BE49-F238E27FC236}">
                  <a16:creationId xmlns:a16="http://schemas.microsoft.com/office/drawing/2014/main" id="{20059635-5705-4044-B893-F34227CF2DA6}"/>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3"/>
                </a:ext>
              </a:extLst>
            </a:blip>
            <a:srcRect l="53569" t="7198" r="15603" b="69353"/>
            <a:stretch/>
          </p:blipFill>
          <p:spPr>
            <a:xfrm>
              <a:off x="9737686" y="3950194"/>
              <a:ext cx="148564" cy="139585"/>
            </a:xfrm>
            <a:prstGeom prst="rect">
              <a:avLst/>
            </a:prstGeom>
          </p:spPr>
        </p:pic>
        <p:pic>
          <p:nvPicPr>
            <p:cNvPr id="71" name="Graphic 70">
              <a:extLst>
                <a:ext uri="{FF2B5EF4-FFF2-40B4-BE49-F238E27FC236}">
                  <a16:creationId xmlns:a16="http://schemas.microsoft.com/office/drawing/2014/main" id="{FB56BF55-668A-424D-8024-E20E69E8729B}"/>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20"/>
                </a:ext>
              </a:extLst>
            </a:blip>
            <a:srcRect l="55147" t="7303" r="17721" b="70266"/>
            <a:stretch/>
          </p:blipFill>
          <p:spPr>
            <a:xfrm>
              <a:off x="9737666" y="4078556"/>
              <a:ext cx="146980" cy="150110"/>
            </a:xfrm>
            <a:prstGeom prst="rect">
              <a:avLst/>
            </a:prstGeom>
          </p:spPr>
        </p:pic>
        <p:pic>
          <p:nvPicPr>
            <p:cNvPr id="72" name="Graphic 71">
              <a:extLst>
                <a:ext uri="{FF2B5EF4-FFF2-40B4-BE49-F238E27FC236}">
                  <a16:creationId xmlns:a16="http://schemas.microsoft.com/office/drawing/2014/main" id="{4B7DF078-4A3A-4F4E-A14D-DE16E34857A9}"/>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3"/>
                </a:ext>
              </a:extLst>
            </a:blip>
            <a:srcRect l="53569" t="7198" r="15603" b="69353"/>
            <a:stretch/>
          </p:blipFill>
          <p:spPr>
            <a:xfrm>
              <a:off x="9519304" y="4217169"/>
              <a:ext cx="148564" cy="139585"/>
            </a:xfrm>
            <a:prstGeom prst="rect">
              <a:avLst/>
            </a:prstGeom>
          </p:spPr>
        </p:pic>
        <p:pic>
          <p:nvPicPr>
            <p:cNvPr id="73" name="Graphic 72">
              <a:extLst>
                <a:ext uri="{FF2B5EF4-FFF2-40B4-BE49-F238E27FC236}">
                  <a16:creationId xmlns:a16="http://schemas.microsoft.com/office/drawing/2014/main" id="{E6520952-0C4C-4C50-A72C-14BC35FB60E4}"/>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3"/>
                </a:ext>
              </a:extLst>
            </a:blip>
            <a:srcRect l="53569" t="7198" r="15603" b="69353"/>
            <a:stretch/>
          </p:blipFill>
          <p:spPr>
            <a:xfrm>
              <a:off x="9525100" y="3949928"/>
              <a:ext cx="148564" cy="139585"/>
            </a:xfrm>
            <a:prstGeom prst="rect">
              <a:avLst/>
            </a:prstGeom>
          </p:spPr>
        </p:pic>
        <p:pic>
          <p:nvPicPr>
            <p:cNvPr id="74" name="Graphic 73">
              <a:extLst>
                <a:ext uri="{FF2B5EF4-FFF2-40B4-BE49-F238E27FC236}">
                  <a16:creationId xmlns:a16="http://schemas.microsoft.com/office/drawing/2014/main" id="{1151B15A-D873-4172-8477-E94FDB4ACFA8}"/>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20"/>
                </a:ext>
              </a:extLst>
            </a:blip>
            <a:srcRect l="55147" t="7303" r="17721" b="70266"/>
            <a:stretch/>
          </p:blipFill>
          <p:spPr>
            <a:xfrm>
              <a:off x="9525080" y="4078290"/>
              <a:ext cx="146980" cy="150110"/>
            </a:xfrm>
            <a:prstGeom prst="rect">
              <a:avLst/>
            </a:prstGeom>
          </p:spPr>
        </p:pic>
      </p:grpSp>
    </p:spTree>
    <p:extLst>
      <p:ext uri="{BB962C8B-B14F-4D97-AF65-F5344CB8AC3E}">
        <p14:creationId xmlns:p14="http://schemas.microsoft.com/office/powerpoint/2010/main" val="18201514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14"/>
                                        </p:tgtEl>
                                      </p:cBhvr>
                                    </p:animEffect>
                                    <p:set>
                                      <p:cBhvr>
                                        <p:cTn id="7" dur="1" fill="hold">
                                          <p:stCondLst>
                                            <p:cond delay="499"/>
                                          </p:stCondLst>
                                        </p:cTn>
                                        <p:tgtEl>
                                          <p:spTgt spid="14"/>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2" presetClass="exit" presetSubtype="8" accel="60000" fill="hold" nodeType="clickEffect">
                                  <p:stCondLst>
                                    <p:cond delay="0"/>
                                  </p:stCondLst>
                                  <p:childTnLst>
                                    <p:anim calcmode="lin" valueType="num">
                                      <p:cBhvr additive="base">
                                        <p:cTn id="11" dur="500"/>
                                        <p:tgtEl>
                                          <p:spTgt spid="21"/>
                                        </p:tgtEl>
                                        <p:attrNameLst>
                                          <p:attrName>ppt_x</p:attrName>
                                        </p:attrNameLst>
                                      </p:cBhvr>
                                      <p:tavLst>
                                        <p:tav tm="0">
                                          <p:val>
                                            <p:strVal val="ppt_x"/>
                                          </p:val>
                                        </p:tav>
                                        <p:tav tm="100000">
                                          <p:val>
                                            <p:strVal val="0-ppt_w/2"/>
                                          </p:val>
                                        </p:tav>
                                      </p:tavLst>
                                    </p:anim>
                                    <p:anim calcmode="lin" valueType="num">
                                      <p:cBhvr additive="base">
                                        <p:cTn id="12" dur="500"/>
                                        <p:tgtEl>
                                          <p:spTgt spid="21"/>
                                        </p:tgtEl>
                                        <p:attrNameLst>
                                          <p:attrName>ppt_y</p:attrName>
                                        </p:attrNameLst>
                                      </p:cBhvr>
                                      <p:tavLst>
                                        <p:tav tm="0">
                                          <p:val>
                                            <p:strVal val="ppt_y"/>
                                          </p:val>
                                        </p:tav>
                                        <p:tav tm="100000">
                                          <p:val>
                                            <p:strVal val="ppt_y"/>
                                          </p:val>
                                        </p:tav>
                                      </p:tavLst>
                                    </p:anim>
                                    <p:set>
                                      <p:cBhvr>
                                        <p:cTn id="13" dur="1" fill="hold">
                                          <p:stCondLst>
                                            <p:cond delay="499"/>
                                          </p:stCondLst>
                                        </p:cTn>
                                        <p:tgtEl>
                                          <p:spTgt spid="21"/>
                                        </p:tgtEl>
                                        <p:attrNameLst>
                                          <p:attrName>style.visibility</p:attrName>
                                        </p:attrNameLst>
                                      </p:cBhvr>
                                      <p:to>
                                        <p:strVal val="hidden"/>
                                      </p:to>
                                    </p:set>
                                  </p:childTnLst>
                                </p:cTn>
                              </p:par>
                              <p:par>
                                <p:cTn id="14" presetID="2" presetClass="exit" presetSubtype="8" accel="60000" fill="hold" grpId="0" nodeType="withEffect">
                                  <p:stCondLst>
                                    <p:cond delay="0"/>
                                  </p:stCondLst>
                                  <p:childTnLst>
                                    <p:anim calcmode="lin" valueType="num">
                                      <p:cBhvr additive="base">
                                        <p:cTn id="15" dur="500"/>
                                        <p:tgtEl>
                                          <p:spTgt spid="16"/>
                                        </p:tgtEl>
                                        <p:attrNameLst>
                                          <p:attrName>ppt_x</p:attrName>
                                        </p:attrNameLst>
                                      </p:cBhvr>
                                      <p:tavLst>
                                        <p:tav tm="0">
                                          <p:val>
                                            <p:strVal val="ppt_x"/>
                                          </p:val>
                                        </p:tav>
                                        <p:tav tm="100000">
                                          <p:val>
                                            <p:strVal val="0-ppt_w/2"/>
                                          </p:val>
                                        </p:tav>
                                      </p:tavLst>
                                    </p:anim>
                                    <p:anim calcmode="lin" valueType="num">
                                      <p:cBhvr additive="base">
                                        <p:cTn id="16" dur="500"/>
                                        <p:tgtEl>
                                          <p:spTgt spid="16"/>
                                        </p:tgtEl>
                                        <p:attrNameLst>
                                          <p:attrName>ppt_y</p:attrName>
                                        </p:attrNameLst>
                                      </p:cBhvr>
                                      <p:tavLst>
                                        <p:tav tm="0">
                                          <p:val>
                                            <p:strVal val="ppt_y"/>
                                          </p:val>
                                        </p:tav>
                                        <p:tav tm="100000">
                                          <p:val>
                                            <p:strVal val="ppt_y"/>
                                          </p:val>
                                        </p:tav>
                                      </p:tavLst>
                                    </p:anim>
                                    <p:set>
                                      <p:cBhvr>
                                        <p:cTn id="17" dur="1" fill="hold">
                                          <p:stCondLst>
                                            <p:cond delay="499"/>
                                          </p:stCondLst>
                                        </p:cTn>
                                        <p:tgtEl>
                                          <p:spTgt spid="16"/>
                                        </p:tgtEl>
                                        <p:attrNameLst>
                                          <p:attrName>style.visibility</p:attrName>
                                        </p:attrNameLst>
                                      </p:cBhvr>
                                      <p:to>
                                        <p:strVal val="hidden"/>
                                      </p:to>
                                    </p:set>
                                  </p:childTnLst>
                                </p:cTn>
                              </p:par>
                            </p:childTnLst>
                          </p:cTn>
                        </p:par>
                        <p:par>
                          <p:cTn id="18" fill="hold">
                            <p:stCondLst>
                              <p:cond delay="500"/>
                            </p:stCondLst>
                            <p:childTnLst>
                              <p:par>
                                <p:cTn id="19" presetID="2" presetClass="entr" presetSubtype="8" decel="60000" fill="hold" nodeType="afterEffect">
                                  <p:stCondLst>
                                    <p:cond delay="0"/>
                                  </p:stCondLst>
                                  <p:childTnLst>
                                    <p:set>
                                      <p:cBhvr>
                                        <p:cTn id="20" dur="1" fill="hold">
                                          <p:stCondLst>
                                            <p:cond delay="0"/>
                                          </p:stCondLst>
                                        </p:cTn>
                                        <p:tgtEl>
                                          <p:spTgt spid="75"/>
                                        </p:tgtEl>
                                        <p:attrNameLst>
                                          <p:attrName>style.visibility</p:attrName>
                                        </p:attrNameLst>
                                      </p:cBhvr>
                                      <p:to>
                                        <p:strVal val="visible"/>
                                      </p:to>
                                    </p:set>
                                    <p:anim calcmode="lin" valueType="num">
                                      <p:cBhvr additive="base">
                                        <p:cTn id="21" dur="500" fill="hold"/>
                                        <p:tgtEl>
                                          <p:spTgt spid="75"/>
                                        </p:tgtEl>
                                        <p:attrNameLst>
                                          <p:attrName>ppt_x</p:attrName>
                                        </p:attrNameLst>
                                      </p:cBhvr>
                                      <p:tavLst>
                                        <p:tav tm="0">
                                          <p:val>
                                            <p:strVal val="0-#ppt_w/2"/>
                                          </p:val>
                                        </p:tav>
                                        <p:tav tm="100000">
                                          <p:val>
                                            <p:strVal val="#ppt_x"/>
                                          </p:val>
                                        </p:tav>
                                      </p:tavLst>
                                    </p:anim>
                                    <p:anim calcmode="lin" valueType="num">
                                      <p:cBhvr additive="base">
                                        <p:cTn id="22" dur="500" fill="hold"/>
                                        <p:tgtEl>
                                          <p:spTgt spid="7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6" name="Group 75">
            <a:extLst>
              <a:ext uri="{FF2B5EF4-FFF2-40B4-BE49-F238E27FC236}">
                <a16:creationId xmlns:a16="http://schemas.microsoft.com/office/drawing/2014/main" id="{094A7D25-4A42-4874-8685-6AAFAACCD917}"/>
              </a:ext>
            </a:extLst>
          </p:cNvPr>
          <p:cNvGrpSpPr/>
          <p:nvPr/>
        </p:nvGrpSpPr>
        <p:grpSpPr>
          <a:xfrm>
            <a:off x="-266070" y="3347369"/>
            <a:ext cx="3451374" cy="1283333"/>
            <a:chOff x="-425488" y="4213117"/>
            <a:chExt cx="3451374" cy="1283333"/>
          </a:xfrm>
        </p:grpSpPr>
        <p:pic>
          <p:nvPicPr>
            <p:cNvPr id="81" name="Graphic 80">
              <a:extLst>
                <a:ext uri="{FF2B5EF4-FFF2-40B4-BE49-F238E27FC236}">
                  <a16:creationId xmlns:a16="http://schemas.microsoft.com/office/drawing/2014/main" id="{8CAD0C73-85FE-47B8-891B-A78A13524CF7}"/>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18795"/>
            <a:stretch/>
          </p:blipFill>
          <p:spPr>
            <a:xfrm>
              <a:off x="895463" y="4674782"/>
              <a:ext cx="809473" cy="821668"/>
            </a:xfrm>
            <a:prstGeom prst="rect">
              <a:avLst/>
            </a:prstGeom>
          </p:spPr>
        </p:pic>
        <p:sp>
          <p:nvSpPr>
            <p:cNvPr id="82" name="TextBox 81">
              <a:extLst>
                <a:ext uri="{FF2B5EF4-FFF2-40B4-BE49-F238E27FC236}">
                  <a16:creationId xmlns:a16="http://schemas.microsoft.com/office/drawing/2014/main" id="{1DD58401-97AE-4C5F-A510-7A42EBF9A9B6}"/>
                </a:ext>
              </a:extLst>
            </p:cNvPr>
            <p:cNvSpPr txBox="1"/>
            <p:nvPr/>
          </p:nvSpPr>
          <p:spPr>
            <a:xfrm>
              <a:off x="-425488" y="4213117"/>
              <a:ext cx="3451374" cy="461665"/>
            </a:xfrm>
            <a:prstGeom prst="rect">
              <a:avLst/>
            </a:prstGeom>
            <a:noFill/>
          </p:spPr>
          <p:txBody>
            <a:bodyPr wrap="square" rtlCol="0">
              <a:spAutoFit/>
            </a:bodyPr>
            <a:lstStyle/>
            <a:p>
              <a:pPr algn="ctr"/>
              <a:r>
                <a:rPr lang="en-US" sz="2400" dirty="0" err="1">
                  <a:solidFill>
                    <a:schemeClr val="bg1"/>
                  </a:solidFill>
                  <a:latin typeface="Quicksand Bold" pitchFamily="50" charset="0"/>
                </a:rPr>
                <a:t>ElderCare</a:t>
              </a:r>
              <a:endParaRPr lang="en-SG" sz="2400" dirty="0">
                <a:solidFill>
                  <a:schemeClr val="bg1"/>
                </a:solidFill>
                <a:latin typeface="Quicksand Bold" pitchFamily="50" charset="0"/>
              </a:endParaRPr>
            </a:p>
          </p:txBody>
        </p:sp>
      </p:grpSp>
      <p:cxnSp>
        <p:nvCxnSpPr>
          <p:cNvPr id="77" name="Straight Connector 76">
            <a:extLst>
              <a:ext uri="{FF2B5EF4-FFF2-40B4-BE49-F238E27FC236}">
                <a16:creationId xmlns:a16="http://schemas.microsoft.com/office/drawing/2014/main" id="{DE59A405-3728-42E6-945F-3F4B0140C781}"/>
              </a:ext>
            </a:extLst>
          </p:cNvPr>
          <p:cNvCxnSpPr>
            <a:cxnSpLocks/>
          </p:cNvCxnSpPr>
          <p:nvPr/>
        </p:nvCxnSpPr>
        <p:spPr>
          <a:xfrm>
            <a:off x="1459617" y="4915360"/>
            <a:ext cx="9272766" cy="0"/>
          </a:xfrm>
          <a:prstGeom prst="line">
            <a:avLst/>
          </a:prstGeom>
          <a:ln w="381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47A4A561-E28F-4294-B920-34521B438DA5}"/>
              </a:ext>
            </a:extLst>
          </p:cNvPr>
          <p:cNvGrpSpPr/>
          <p:nvPr/>
        </p:nvGrpSpPr>
        <p:grpSpPr>
          <a:xfrm>
            <a:off x="9006696" y="3422864"/>
            <a:ext cx="3451374" cy="1283333"/>
            <a:chOff x="-425488" y="4213117"/>
            <a:chExt cx="3451374" cy="1283333"/>
          </a:xfrm>
        </p:grpSpPr>
        <p:pic>
          <p:nvPicPr>
            <p:cNvPr id="79" name="Graphic 78">
              <a:extLst>
                <a:ext uri="{FF2B5EF4-FFF2-40B4-BE49-F238E27FC236}">
                  <a16:creationId xmlns:a16="http://schemas.microsoft.com/office/drawing/2014/main" id="{381CA2B9-0436-485E-A1F0-85F69BC718A6}"/>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18795"/>
            <a:stretch/>
          </p:blipFill>
          <p:spPr>
            <a:xfrm>
              <a:off x="895463" y="4674782"/>
              <a:ext cx="809473" cy="821668"/>
            </a:xfrm>
            <a:prstGeom prst="rect">
              <a:avLst/>
            </a:prstGeom>
          </p:spPr>
        </p:pic>
        <p:sp>
          <p:nvSpPr>
            <p:cNvPr id="80" name="TextBox 79">
              <a:extLst>
                <a:ext uri="{FF2B5EF4-FFF2-40B4-BE49-F238E27FC236}">
                  <a16:creationId xmlns:a16="http://schemas.microsoft.com/office/drawing/2014/main" id="{300E8C18-112E-4EEB-A670-3185A372E42B}"/>
                </a:ext>
              </a:extLst>
            </p:cNvPr>
            <p:cNvSpPr txBox="1"/>
            <p:nvPr/>
          </p:nvSpPr>
          <p:spPr>
            <a:xfrm>
              <a:off x="-425488" y="4213117"/>
              <a:ext cx="3451374" cy="461665"/>
            </a:xfrm>
            <a:prstGeom prst="rect">
              <a:avLst/>
            </a:prstGeom>
            <a:noFill/>
          </p:spPr>
          <p:txBody>
            <a:bodyPr wrap="square" rtlCol="0">
              <a:spAutoFit/>
            </a:bodyPr>
            <a:lstStyle/>
            <a:p>
              <a:pPr algn="ctr"/>
              <a:r>
                <a:rPr lang="en-US" sz="2400" dirty="0">
                  <a:solidFill>
                    <a:schemeClr val="bg1"/>
                  </a:solidFill>
                  <a:latin typeface="Quicksand Bold" pitchFamily="50" charset="0"/>
                </a:rPr>
                <a:t>Household</a:t>
              </a:r>
              <a:endParaRPr lang="en-SG" sz="2400" dirty="0">
                <a:solidFill>
                  <a:schemeClr val="bg1"/>
                </a:solidFill>
                <a:latin typeface="Quicksand Bold" pitchFamily="50" charset="0"/>
              </a:endParaRPr>
            </a:p>
          </p:txBody>
        </p:sp>
      </p:grpSp>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39150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1000"/>
                                        <p:tgtEl>
                                          <p:spTgt spid="77"/>
                                        </p:tgtEl>
                                      </p:cBhvr>
                                    </p:animEffect>
                                    <p:set>
                                      <p:cBhvr>
                                        <p:cTn id="7" dur="1" fill="hold">
                                          <p:stCondLst>
                                            <p:cond delay="999"/>
                                          </p:stCondLst>
                                        </p:cTn>
                                        <p:tgtEl>
                                          <p:spTgt spid="77"/>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1000"/>
                                        <p:tgtEl>
                                          <p:spTgt spid="78"/>
                                        </p:tgtEl>
                                      </p:cBhvr>
                                    </p:animEffect>
                                    <p:set>
                                      <p:cBhvr>
                                        <p:cTn id="10" dur="1" fill="hold">
                                          <p:stCondLst>
                                            <p:cond delay="999"/>
                                          </p:stCondLst>
                                        </p:cTn>
                                        <p:tgtEl>
                                          <p:spTgt spid="78"/>
                                        </p:tgtEl>
                                        <p:attrNameLst>
                                          <p:attrName>style.visibility</p:attrName>
                                        </p:attrNameLst>
                                      </p:cBhvr>
                                      <p:to>
                                        <p:strVal val="hidden"/>
                                      </p:to>
                                    </p:set>
                                  </p:childTnLst>
                                </p:cTn>
                              </p:par>
                              <p:par>
                                <p:cTn id="11" presetID="32" presetClass="emph" presetSubtype="0" fill="hold" nodeType="withEffect">
                                  <p:stCondLst>
                                    <p:cond delay="0"/>
                                  </p:stCondLst>
                                  <p:childTnLst>
                                    <p:animRot by="120000">
                                      <p:cBhvr>
                                        <p:cTn id="12" dur="100" fill="hold">
                                          <p:stCondLst>
                                            <p:cond delay="0"/>
                                          </p:stCondLst>
                                        </p:cTn>
                                        <p:tgtEl>
                                          <p:spTgt spid="76"/>
                                        </p:tgtEl>
                                        <p:attrNameLst>
                                          <p:attrName>r</p:attrName>
                                        </p:attrNameLst>
                                      </p:cBhvr>
                                    </p:animRot>
                                    <p:animRot by="-240000">
                                      <p:cBhvr>
                                        <p:cTn id="13" dur="200" fill="hold">
                                          <p:stCondLst>
                                            <p:cond delay="200"/>
                                          </p:stCondLst>
                                        </p:cTn>
                                        <p:tgtEl>
                                          <p:spTgt spid="76"/>
                                        </p:tgtEl>
                                        <p:attrNameLst>
                                          <p:attrName>r</p:attrName>
                                        </p:attrNameLst>
                                      </p:cBhvr>
                                    </p:animRot>
                                    <p:animRot by="240000">
                                      <p:cBhvr>
                                        <p:cTn id="14" dur="200" fill="hold">
                                          <p:stCondLst>
                                            <p:cond delay="400"/>
                                          </p:stCondLst>
                                        </p:cTn>
                                        <p:tgtEl>
                                          <p:spTgt spid="76"/>
                                        </p:tgtEl>
                                        <p:attrNameLst>
                                          <p:attrName>r</p:attrName>
                                        </p:attrNameLst>
                                      </p:cBhvr>
                                    </p:animRot>
                                    <p:animRot by="-240000">
                                      <p:cBhvr>
                                        <p:cTn id="15" dur="200" fill="hold">
                                          <p:stCondLst>
                                            <p:cond delay="600"/>
                                          </p:stCondLst>
                                        </p:cTn>
                                        <p:tgtEl>
                                          <p:spTgt spid="76"/>
                                        </p:tgtEl>
                                        <p:attrNameLst>
                                          <p:attrName>r</p:attrName>
                                        </p:attrNameLst>
                                      </p:cBhvr>
                                    </p:animRot>
                                    <p:animRot by="120000">
                                      <p:cBhvr>
                                        <p:cTn id="16" dur="200" fill="hold">
                                          <p:stCondLst>
                                            <p:cond delay="800"/>
                                          </p:stCondLst>
                                        </p:cTn>
                                        <p:tgtEl>
                                          <p:spTgt spid="76"/>
                                        </p:tgtEl>
                                        <p:attrNameLst>
                                          <p:attrName>r</p:attrName>
                                        </p:attrNameLst>
                                      </p:cBhvr>
                                    </p:animRot>
                                  </p:childTnLst>
                                </p:cTn>
                              </p:par>
                              <p:par>
                                <p:cTn id="17" presetID="10" presetClass="exit" presetSubtype="0" fill="hold" nodeType="withEffect">
                                  <p:stCondLst>
                                    <p:cond delay="0"/>
                                  </p:stCondLst>
                                  <p:childTnLst>
                                    <p:animEffect transition="out" filter="fade">
                                      <p:cBhvr>
                                        <p:cTn id="18" dur="1000"/>
                                        <p:tgtEl>
                                          <p:spTgt spid="76"/>
                                        </p:tgtEl>
                                      </p:cBhvr>
                                    </p:animEffect>
                                    <p:set>
                                      <p:cBhvr>
                                        <p:cTn id="19" dur="1" fill="hold">
                                          <p:stCondLst>
                                            <p:cond delay="999"/>
                                          </p:stCondLst>
                                        </p:cTn>
                                        <p:tgtEl>
                                          <p:spTgt spid="7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May be an image of text that says '3lAgytech Simplifying Engineering'">
            <a:extLst>
              <a:ext uri="{FF2B5EF4-FFF2-40B4-BE49-F238E27FC236}">
                <a16:creationId xmlns:a16="http://schemas.microsoft.com/office/drawing/2014/main" id="{EA11242B-33A5-4485-BB9E-F75166952C6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grpSp>
        <p:nvGrpSpPr>
          <p:cNvPr id="32" name="Group 31">
            <a:extLst>
              <a:ext uri="{FF2B5EF4-FFF2-40B4-BE49-F238E27FC236}">
                <a16:creationId xmlns:a16="http://schemas.microsoft.com/office/drawing/2014/main" id="{B3A4160C-E500-4D6F-BA40-FCD1DC629550}"/>
              </a:ext>
            </a:extLst>
          </p:cNvPr>
          <p:cNvGrpSpPr/>
          <p:nvPr/>
        </p:nvGrpSpPr>
        <p:grpSpPr>
          <a:xfrm>
            <a:off x="3890330" y="593796"/>
            <a:ext cx="7804172" cy="5670407"/>
            <a:chOff x="3890330" y="593796"/>
            <a:chExt cx="7804172" cy="5670407"/>
          </a:xfrm>
        </p:grpSpPr>
        <p:grpSp>
          <p:nvGrpSpPr>
            <p:cNvPr id="7" name="Group 6">
              <a:extLst>
                <a:ext uri="{FF2B5EF4-FFF2-40B4-BE49-F238E27FC236}">
                  <a16:creationId xmlns:a16="http://schemas.microsoft.com/office/drawing/2014/main" id="{AA8E43C8-1286-405A-B41F-5DCA366C30E4}"/>
                </a:ext>
              </a:extLst>
            </p:cNvPr>
            <p:cNvGrpSpPr/>
            <p:nvPr/>
          </p:nvGrpSpPr>
          <p:grpSpPr>
            <a:xfrm>
              <a:off x="9870097" y="1889116"/>
              <a:ext cx="1824405" cy="1844296"/>
              <a:chOff x="8784532" y="3105589"/>
              <a:chExt cx="2060688" cy="2083155"/>
            </a:xfrm>
          </p:grpSpPr>
          <p:sp>
            <p:nvSpPr>
              <p:cNvPr id="8" name="Rectangle: Rounded Corners 7">
                <a:extLst>
                  <a:ext uri="{FF2B5EF4-FFF2-40B4-BE49-F238E27FC236}">
                    <a16:creationId xmlns:a16="http://schemas.microsoft.com/office/drawing/2014/main" id="{50500E91-562C-471A-AB1A-AC52030E1490}"/>
                  </a:ext>
                </a:extLst>
              </p:cNvPr>
              <p:cNvSpPr/>
              <p:nvPr/>
            </p:nvSpPr>
            <p:spPr>
              <a:xfrm>
                <a:off x="9058963" y="3932385"/>
                <a:ext cx="1511826" cy="465883"/>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pic>
            <p:nvPicPr>
              <p:cNvPr id="9" name="Graphic 8">
                <a:extLst>
                  <a:ext uri="{FF2B5EF4-FFF2-40B4-BE49-F238E27FC236}">
                    <a16:creationId xmlns:a16="http://schemas.microsoft.com/office/drawing/2014/main" id="{AE44E18C-F26B-4FB8-811A-0ADA47EF9033}"/>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19128"/>
              <a:stretch/>
            </p:blipFill>
            <p:spPr>
              <a:xfrm>
                <a:off x="8784532" y="3105589"/>
                <a:ext cx="2060688" cy="2083155"/>
              </a:xfrm>
              <a:prstGeom prst="rect">
                <a:avLst/>
              </a:prstGeom>
            </p:spPr>
          </p:pic>
          <p:pic>
            <p:nvPicPr>
              <p:cNvPr id="10" name="Graphic 9">
                <a:extLst>
                  <a:ext uri="{FF2B5EF4-FFF2-40B4-BE49-F238E27FC236}">
                    <a16:creationId xmlns:a16="http://schemas.microsoft.com/office/drawing/2014/main" id="{2DB15EB5-ECBC-4634-829C-85657DF7270C}"/>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5147" t="7303" r="17721" b="70266"/>
              <a:stretch/>
            </p:blipFill>
            <p:spPr>
              <a:xfrm>
                <a:off x="9097905" y="3946861"/>
                <a:ext cx="146980" cy="150110"/>
              </a:xfrm>
              <a:prstGeom prst="rect">
                <a:avLst/>
              </a:prstGeom>
            </p:spPr>
          </p:pic>
          <p:pic>
            <p:nvPicPr>
              <p:cNvPr id="11" name="Graphic 10">
                <a:extLst>
                  <a:ext uri="{FF2B5EF4-FFF2-40B4-BE49-F238E27FC236}">
                    <a16:creationId xmlns:a16="http://schemas.microsoft.com/office/drawing/2014/main" id="{DCDB059F-FF59-407C-9114-9F2923926EEC}"/>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5147" t="7303" r="17721" b="70266"/>
              <a:stretch/>
            </p:blipFill>
            <p:spPr>
              <a:xfrm>
                <a:off x="9098523" y="4073347"/>
                <a:ext cx="146980" cy="150110"/>
              </a:xfrm>
              <a:prstGeom prst="rect">
                <a:avLst/>
              </a:prstGeom>
            </p:spPr>
          </p:pic>
          <p:pic>
            <p:nvPicPr>
              <p:cNvPr id="12" name="Graphic 11">
                <a:extLst>
                  <a:ext uri="{FF2B5EF4-FFF2-40B4-BE49-F238E27FC236}">
                    <a16:creationId xmlns:a16="http://schemas.microsoft.com/office/drawing/2014/main" id="{95DC7C76-D98F-463E-8FD2-6E3C00925876}"/>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53569" t="7198" r="15603" b="69353"/>
              <a:stretch/>
            </p:blipFill>
            <p:spPr>
              <a:xfrm>
                <a:off x="9101607" y="4215471"/>
                <a:ext cx="148564" cy="139585"/>
              </a:xfrm>
              <a:prstGeom prst="rect">
                <a:avLst/>
              </a:prstGeom>
            </p:spPr>
          </p:pic>
          <p:pic>
            <p:nvPicPr>
              <p:cNvPr id="13" name="Graphic 12">
                <a:extLst>
                  <a:ext uri="{FF2B5EF4-FFF2-40B4-BE49-F238E27FC236}">
                    <a16:creationId xmlns:a16="http://schemas.microsoft.com/office/drawing/2014/main" id="{EACD2528-078E-41E0-BC2C-D8C799E70960}"/>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5147" t="7303" r="17721" b="70266"/>
              <a:stretch/>
            </p:blipFill>
            <p:spPr>
              <a:xfrm>
                <a:off x="9315264" y="4078290"/>
                <a:ext cx="146980" cy="150110"/>
              </a:xfrm>
              <a:prstGeom prst="rect">
                <a:avLst/>
              </a:prstGeom>
            </p:spPr>
          </p:pic>
          <p:pic>
            <p:nvPicPr>
              <p:cNvPr id="14" name="Graphic 13">
                <a:extLst>
                  <a:ext uri="{FF2B5EF4-FFF2-40B4-BE49-F238E27FC236}">
                    <a16:creationId xmlns:a16="http://schemas.microsoft.com/office/drawing/2014/main" id="{193D1FC0-BF3C-47AD-BA08-ADDECCA9E971}"/>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5147" t="7303" r="17721" b="70266"/>
              <a:stretch/>
            </p:blipFill>
            <p:spPr>
              <a:xfrm>
                <a:off x="9315882" y="4204776"/>
                <a:ext cx="146980" cy="150110"/>
              </a:xfrm>
              <a:prstGeom prst="rect">
                <a:avLst/>
              </a:prstGeom>
            </p:spPr>
          </p:pic>
          <p:pic>
            <p:nvPicPr>
              <p:cNvPr id="15" name="Graphic 14">
                <a:extLst>
                  <a:ext uri="{FF2B5EF4-FFF2-40B4-BE49-F238E27FC236}">
                    <a16:creationId xmlns:a16="http://schemas.microsoft.com/office/drawing/2014/main" id="{DEF5B8B9-BDC4-4F4F-8FD9-2E5F0A2186DA}"/>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53569" t="7198" r="15603" b="69353"/>
              <a:stretch/>
            </p:blipFill>
            <p:spPr>
              <a:xfrm>
                <a:off x="9317712" y="3953555"/>
                <a:ext cx="148564" cy="139585"/>
              </a:xfrm>
              <a:prstGeom prst="rect">
                <a:avLst/>
              </a:prstGeom>
            </p:spPr>
          </p:pic>
          <p:pic>
            <p:nvPicPr>
              <p:cNvPr id="16" name="Graphic 15">
                <a:extLst>
                  <a:ext uri="{FF2B5EF4-FFF2-40B4-BE49-F238E27FC236}">
                    <a16:creationId xmlns:a16="http://schemas.microsoft.com/office/drawing/2014/main" id="{C61F29E1-F894-4C83-A438-7AEFB91105C3}"/>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5147" t="7303" r="17721" b="70266"/>
              <a:stretch/>
            </p:blipFill>
            <p:spPr>
              <a:xfrm>
                <a:off x="10156865" y="4204776"/>
                <a:ext cx="146980" cy="150110"/>
              </a:xfrm>
              <a:prstGeom prst="rect">
                <a:avLst/>
              </a:prstGeom>
            </p:spPr>
          </p:pic>
          <p:pic>
            <p:nvPicPr>
              <p:cNvPr id="17" name="Graphic 16">
                <a:extLst>
                  <a:ext uri="{FF2B5EF4-FFF2-40B4-BE49-F238E27FC236}">
                    <a16:creationId xmlns:a16="http://schemas.microsoft.com/office/drawing/2014/main" id="{57196BD0-5BD5-47DD-B5A6-AB38948516CB}"/>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5147" t="7303" r="17721" b="70266"/>
              <a:stretch/>
            </p:blipFill>
            <p:spPr>
              <a:xfrm>
                <a:off x="10161428" y="3946861"/>
                <a:ext cx="146980" cy="150110"/>
              </a:xfrm>
              <a:prstGeom prst="rect">
                <a:avLst/>
              </a:prstGeom>
            </p:spPr>
          </p:pic>
          <p:pic>
            <p:nvPicPr>
              <p:cNvPr id="18" name="Graphic 17">
                <a:extLst>
                  <a:ext uri="{FF2B5EF4-FFF2-40B4-BE49-F238E27FC236}">
                    <a16:creationId xmlns:a16="http://schemas.microsoft.com/office/drawing/2014/main" id="{46AF15F9-4D57-437C-B6E0-2AEF45014749}"/>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53569" t="7198" r="15603" b="69353"/>
              <a:stretch/>
            </p:blipFill>
            <p:spPr>
              <a:xfrm>
                <a:off x="10159313" y="4083872"/>
                <a:ext cx="148564" cy="139585"/>
              </a:xfrm>
              <a:prstGeom prst="rect">
                <a:avLst/>
              </a:prstGeom>
            </p:spPr>
          </p:pic>
          <p:pic>
            <p:nvPicPr>
              <p:cNvPr id="19" name="Graphic 18">
                <a:extLst>
                  <a:ext uri="{FF2B5EF4-FFF2-40B4-BE49-F238E27FC236}">
                    <a16:creationId xmlns:a16="http://schemas.microsoft.com/office/drawing/2014/main" id="{B1C1B2E8-30F5-4998-8191-823FF01241D2}"/>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5147" t="7303" r="17721" b="70266"/>
              <a:stretch/>
            </p:blipFill>
            <p:spPr>
              <a:xfrm>
                <a:off x="10376111" y="4080751"/>
                <a:ext cx="146980" cy="150110"/>
              </a:xfrm>
              <a:prstGeom prst="rect">
                <a:avLst/>
              </a:prstGeom>
            </p:spPr>
          </p:pic>
          <p:pic>
            <p:nvPicPr>
              <p:cNvPr id="20" name="Graphic 19">
                <a:extLst>
                  <a:ext uri="{FF2B5EF4-FFF2-40B4-BE49-F238E27FC236}">
                    <a16:creationId xmlns:a16="http://schemas.microsoft.com/office/drawing/2014/main" id="{A9AF5C8A-DD60-462A-92FB-B49116CE079E}"/>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5147" t="7303" r="17721" b="70266"/>
              <a:stretch/>
            </p:blipFill>
            <p:spPr>
              <a:xfrm>
                <a:off x="10376729" y="4207237"/>
                <a:ext cx="146980" cy="150110"/>
              </a:xfrm>
              <a:prstGeom prst="rect">
                <a:avLst/>
              </a:prstGeom>
            </p:spPr>
          </p:pic>
          <p:pic>
            <p:nvPicPr>
              <p:cNvPr id="21" name="Graphic 20">
                <a:extLst>
                  <a:ext uri="{FF2B5EF4-FFF2-40B4-BE49-F238E27FC236}">
                    <a16:creationId xmlns:a16="http://schemas.microsoft.com/office/drawing/2014/main" id="{454B0197-27C6-49A4-BAF0-DF1628E7A5D1}"/>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53569" t="7198" r="15603" b="69353"/>
              <a:stretch/>
            </p:blipFill>
            <p:spPr>
              <a:xfrm>
                <a:off x="10378559" y="3956016"/>
                <a:ext cx="148564" cy="139585"/>
              </a:xfrm>
              <a:prstGeom prst="rect">
                <a:avLst/>
              </a:prstGeom>
            </p:spPr>
          </p:pic>
          <p:pic>
            <p:nvPicPr>
              <p:cNvPr id="22" name="Graphic 21">
                <a:extLst>
                  <a:ext uri="{FF2B5EF4-FFF2-40B4-BE49-F238E27FC236}">
                    <a16:creationId xmlns:a16="http://schemas.microsoft.com/office/drawing/2014/main" id="{0D08105B-24D6-488A-A55D-37C6EC83728B}"/>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53569" t="7198" r="15603" b="69353"/>
              <a:stretch/>
            </p:blipFill>
            <p:spPr>
              <a:xfrm>
                <a:off x="9945731" y="3950563"/>
                <a:ext cx="148564" cy="139585"/>
              </a:xfrm>
              <a:prstGeom prst="rect">
                <a:avLst/>
              </a:prstGeom>
            </p:spPr>
          </p:pic>
          <p:pic>
            <p:nvPicPr>
              <p:cNvPr id="23" name="Graphic 22">
                <a:extLst>
                  <a:ext uri="{FF2B5EF4-FFF2-40B4-BE49-F238E27FC236}">
                    <a16:creationId xmlns:a16="http://schemas.microsoft.com/office/drawing/2014/main" id="{4F04742C-12F9-4A36-AC8E-AEE4F85D3CD9}"/>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53569" t="7198" r="15603" b="69353"/>
              <a:stretch/>
            </p:blipFill>
            <p:spPr>
              <a:xfrm>
                <a:off x="9945731" y="4082891"/>
                <a:ext cx="148564" cy="139585"/>
              </a:xfrm>
              <a:prstGeom prst="rect">
                <a:avLst/>
              </a:prstGeom>
            </p:spPr>
          </p:pic>
          <p:pic>
            <p:nvPicPr>
              <p:cNvPr id="24" name="Graphic 23">
                <a:extLst>
                  <a:ext uri="{FF2B5EF4-FFF2-40B4-BE49-F238E27FC236}">
                    <a16:creationId xmlns:a16="http://schemas.microsoft.com/office/drawing/2014/main" id="{2CE148EB-E5A9-421A-B5A4-782F8BE5BD26}"/>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5147" t="7303" r="17721" b="70266"/>
              <a:stretch/>
            </p:blipFill>
            <p:spPr>
              <a:xfrm>
                <a:off x="9951806" y="4212173"/>
                <a:ext cx="146980" cy="150110"/>
              </a:xfrm>
              <a:prstGeom prst="rect">
                <a:avLst/>
              </a:prstGeom>
            </p:spPr>
          </p:pic>
          <p:pic>
            <p:nvPicPr>
              <p:cNvPr id="25" name="Graphic 24">
                <a:extLst>
                  <a:ext uri="{FF2B5EF4-FFF2-40B4-BE49-F238E27FC236}">
                    <a16:creationId xmlns:a16="http://schemas.microsoft.com/office/drawing/2014/main" id="{8726EB06-984A-4C9C-A6EC-A72BCB537867}"/>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53569" t="7198" r="15603" b="69353"/>
              <a:stretch/>
            </p:blipFill>
            <p:spPr>
              <a:xfrm>
                <a:off x="9731890" y="4217435"/>
                <a:ext cx="148564" cy="139585"/>
              </a:xfrm>
              <a:prstGeom prst="rect">
                <a:avLst/>
              </a:prstGeom>
            </p:spPr>
          </p:pic>
          <p:pic>
            <p:nvPicPr>
              <p:cNvPr id="26" name="Graphic 25">
                <a:extLst>
                  <a:ext uri="{FF2B5EF4-FFF2-40B4-BE49-F238E27FC236}">
                    <a16:creationId xmlns:a16="http://schemas.microsoft.com/office/drawing/2014/main" id="{2DA83B14-D8D1-443D-8A33-54781BF220F1}"/>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53569" t="7198" r="15603" b="69353"/>
              <a:stretch/>
            </p:blipFill>
            <p:spPr>
              <a:xfrm>
                <a:off x="9737686" y="3950194"/>
                <a:ext cx="148564" cy="139585"/>
              </a:xfrm>
              <a:prstGeom prst="rect">
                <a:avLst/>
              </a:prstGeom>
            </p:spPr>
          </p:pic>
          <p:pic>
            <p:nvPicPr>
              <p:cNvPr id="27" name="Graphic 26">
                <a:extLst>
                  <a:ext uri="{FF2B5EF4-FFF2-40B4-BE49-F238E27FC236}">
                    <a16:creationId xmlns:a16="http://schemas.microsoft.com/office/drawing/2014/main" id="{A72128E0-1E71-40FE-85D0-3015FF025C0A}"/>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5147" t="7303" r="17721" b="70266"/>
              <a:stretch/>
            </p:blipFill>
            <p:spPr>
              <a:xfrm>
                <a:off x="9737666" y="4078556"/>
                <a:ext cx="146980" cy="150110"/>
              </a:xfrm>
              <a:prstGeom prst="rect">
                <a:avLst/>
              </a:prstGeom>
            </p:spPr>
          </p:pic>
          <p:pic>
            <p:nvPicPr>
              <p:cNvPr id="28" name="Graphic 27">
                <a:extLst>
                  <a:ext uri="{FF2B5EF4-FFF2-40B4-BE49-F238E27FC236}">
                    <a16:creationId xmlns:a16="http://schemas.microsoft.com/office/drawing/2014/main" id="{AC1A09B0-FD08-4595-934D-B3A7DA413652}"/>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53569" t="7198" r="15603" b="69353"/>
              <a:stretch/>
            </p:blipFill>
            <p:spPr>
              <a:xfrm>
                <a:off x="9519304" y="4217169"/>
                <a:ext cx="148564" cy="139585"/>
              </a:xfrm>
              <a:prstGeom prst="rect">
                <a:avLst/>
              </a:prstGeom>
            </p:spPr>
          </p:pic>
          <p:pic>
            <p:nvPicPr>
              <p:cNvPr id="29" name="Graphic 28">
                <a:extLst>
                  <a:ext uri="{FF2B5EF4-FFF2-40B4-BE49-F238E27FC236}">
                    <a16:creationId xmlns:a16="http://schemas.microsoft.com/office/drawing/2014/main" id="{0B77EAFD-0D88-47CE-B88A-F0150C007994}"/>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53569" t="7198" r="15603" b="69353"/>
              <a:stretch/>
            </p:blipFill>
            <p:spPr>
              <a:xfrm>
                <a:off x="9525100" y="3949928"/>
                <a:ext cx="148564" cy="139585"/>
              </a:xfrm>
              <a:prstGeom prst="rect">
                <a:avLst/>
              </a:prstGeom>
            </p:spPr>
          </p:pic>
          <p:pic>
            <p:nvPicPr>
              <p:cNvPr id="30" name="Graphic 29">
                <a:extLst>
                  <a:ext uri="{FF2B5EF4-FFF2-40B4-BE49-F238E27FC236}">
                    <a16:creationId xmlns:a16="http://schemas.microsoft.com/office/drawing/2014/main" id="{A9A52A79-6178-427A-A0BB-E7937B788254}"/>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55147" t="7303" r="17721" b="70266"/>
              <a:stretch/>
            </p:blipFill>
            <p:spPr>
              <a:xfrm>
                <a:off x="9525080" y="4078290"/>
                <a:ext cx="146980" cy="150110"/>
              </a:xfrm>
              <a:prstGeom prst="rect">
                <a:avLst/>
              </a:prstGeom>
            </p:spPr>
          </p:pic>
        </p:grpSp>
        <p:grpSp>
          <p:nvGrpSpPr>
            <p:cNvPr id="31" name="Group 30">
              <a:extLst>
                <a:ext uri="{FF2B5EF4-FFF2-40B4-BE49-F238E27FC236}">
                  <a16:creationId xmlns:a16="http://schemas.microsoft.com/office/drawing/2014/main" id="{895B7672-33D1-4EA5-ABDE-6F5AAE577039}"/>
                </a:ext>
              </a:extLst>
            </p:cNvPr>
            <p:cNvGrpSpPr/>
            <p:nvPr/>
          </p:nvGrpSpPr>
          <p:grpSpPr>
            <a:xfrm>
              <a:off x="3890330" y="593796"/>
              <a:ext cx="4411339" cy="5670407"/>
              <a:chOff x="4432036" y="1270054"/>
              <a:chExt cx="3327928" cy="4277773"/>
            </a:xfrm>
          </p:grpSpPr>
          <p:pic>
            <p:nvPicPr>
              <p:cNvPr id="4" name="Graphic 3">
                <a:extLst>
                  <a:ext uri="{FF2B5EF4-FFF2-40B4-BE49-F238E27FC236}">
                    <a16:creationId xmlns:a16="http://schemas.microsoft.com/office/drawing/2014/main" id="{4ECC20C5-AC41-41A4-BB51-4DDDC4C20631}"/>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23600"/>
              <a:stretch/>
            </p:blipFill>
            <p:spPr>
              <a:xfrm>
                <a:off x="4432036" y="2371910"/>
                <a:ext cx="3327928" cy="3175917"/>
              </a:xfrm>
              <a:prstGeom prst="rect">
                <a:avLst/>
              </a:prstGeom>
            </p:spPr>
          </p:pic>
          <p:pic>
            <p:nvPicPr>
              <p:cNvPr id="5" name="Graphic 4">
                <a:extLst>
                  <a:ext uri="{FF2B5EF4-FFF2-40B4-BE49-F238E27FC236}">
                    <a16:creationId xmlns:a16="http://schemas.microsoft.com/office/drawing/2014/main" id="{1DBD61F0-7028-4790-B1B0-F8DE51A07CEA}"/>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20048"/>
              <a:stretch/>
            </p:blipFill>
            <p:spPr>
              <a:xfrm>
                <a:off x="5259065" y="1270054"/>
                <a:ext cx="1673870" cy="1672865"/>
              </a:xfrm>
              <a:prstGeom prst="rect">
                <a:avLst/>
              </a:prstGeom>
            </p:spPr>
          </p:pic>
        </p:grpSp>
      </p:grpSp>
      <p:grpSp>
        <p:nvGrpSpPr>
          <p:cNvPr id="35" name="Group 34">
            <a:extLst>
              <a:ext uri="{FF2B5EF4-FFF2-40B4-BE49-F238E27FC236}">
                <a16:creationId xmlns:a16="http://schemas.microsoft.com/office/drawing/2014/main" id="{0257FB0A-A4E9-4F8C-90A7-DC2846018AD9}"/>
              </a:ext>
            </a:extLst>
          </p:cNvPr>
          <p:cNvGrpSpPr/>
          <p:nvPr/>
        </p:nvGrpSpPr>
        <p:grpSpPr>
          <a:xfrm>
            <a:off x="1235183" y="3333604"/>
            <a:ext cx="3451374" cy="1361460"/>
            <a:chOff x="1235183" y="3333604"/>
            <a:chExt cx="3451374" cy="1361460"/>
          </a:xfrm>
        </p:grpSpPr>
        <p:pic>
          <p:nvPicPr>
            <p:cNvPr id="33" name="Graphic 32">
              <a:extLst>
                <a:ext uri="{FF2B5EF4-FFF2-40B4-BE49-F238E27FC236}">
                  <a16:creationId xmlns:a16="http://schemas.microsoft.com/office/drawing/2014/main" id="{00E32F4B-6295-4FA4-BF59-370D67CFF85A}"/>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l="2472" t="13101" r="28" b="36217"/>
            <a:stretch/>
          </p:blipFill>
          <p:spPr>
            <a:xfrm rot="14205273" flipH="1">
              <a:off x="2934079" y="3857570"/>
              <a:ext cx="1071562" cy="603425"/>
            </a:xfrm>
            <a:prstGeom prst="rect">
              <a:avLst/>
            </a:prstGeom>
          </p:spPr>
        </p:pic>
        <p:sp>
          <p:nvSpPr>
            <p:cNvPr id="34" name="TextBox 33">
              <a:extLst>
                <a:ext uri="{FF2B5EF4-FFF2-40B4-BE49-F238E27FC236}">
                  <a16:creationId xmlns:a16="http://schemas.microsoft.com/office/drawing/2014/main" id="{72C69606-3784-468A-AF37-D2A10ADF29E8}"/>
                </a:ext>
              </a:extLst>
            </p:cNvPr>
            <p:cNvSpPr txBox="1"/>
            <p:nvPr/>
          </p:nvSpPr>
          <p:spPr>
            <a:xfrm rot="21264721">
              <a:off x="1235183" y="3333604"/>
              <a:ext cx="3451374" cy="523220"/>
            </a:xfrm>
            <a:prstGeom prst="rect">
              <a:avLst/>
            </a:prstGeom>
            <a:noFill/>
          </p:spPr>
          <p:txBody>
            <a:bodyPr wrap="square" rtlCol="0">
              <a:spAutoFit/>
            </a:bodyPr>
            <a:lstStyle/>
            <a:p>
              <a:pPr algn="ctr"/>
              <a:r>
                <a:rPr lang="en-US" sz="2800" dirty="0">
                  <a:solidFill>
                    <a:schemeClr val="bg1"/>
                  </a:solidFill>
                  <a:latin typeface="Quicksand Bold" pitchFamily="50" charset="0"/>
                </a:rPr>
                <a:t>ELBO</a:t>
              </a:r>
              <a:endParaRPr lang="en-SG" sz="2800" dirty="0">
                <a:solidFill>
                  <a:schemeClr val="bg1"/>
                </a:solidFill>
                <a:latin typeface="Quicksand Bold" pitchFamily="50" charset="0"/>
              </a:endParaRPr>
            </a:p>
          </p:txBody>
        </p:sp>
      </p:grpSp>
    </p:spTree>
    <p:extLst>
      <p:ext uri="{BB962C8B-B14F-4D97-AF65-F5344CB8AC3E}">
        <p14:creationId xmlns:p14="http://schemas.microsoft.com/office/powerpoint/2010/main" val="4005523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60000" fill="hold" nodeType="with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0-#ppt_w/2"/>
                                          </p:val>
                                        </p:tav>
                                        <p:tav tm="100000">
                                          <p:val>
                                            <p:strVal val="#ppt_x"/>
                                          </p:val>
                                        </p:tav>
                                      </p:tavLst>
                                    </p:anim>
                                    <p:anim calcmode="lin" valueType="num">
                                      <p:cBhvr additive="base">
                                        <p:cTn id="8" dur="500" fill="hold"/>
                                        <p:tgtEl>
                                          <p:spTgt spid="3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decel="60000" fill="hold" nodeType="clickEffect">
                                  <p:stCondLst>
                                    <p:cond delay="0"/>
                                  </p:stCondLst>
                                  <p:childTnLst>
                                    <p:set>
                                      <p:cBhvr>
                                        <p:cTn id="12" dur="1" fill="hold">
                                          <p:stCondLst>
                                            <p:cond delay="0"/>
                                          </p:stCondLst>
                                        </p:cTn>
                                        <p:tgtEl>
                                          <p:spTgt spid="35"/>
                                        </p:tgtEl>
                                        <p:attrNameLst>
                                          <p:attrName>style.visibility</p:attrName>
                                        </p:attrNameLst>
                                      </p:cBhvr>
                                      <p:to>
                                        <p:strVal val="visible"/>
                                      </p:to>
                                    </p:set>
                                    <p:anim calcmode="lin" valueType="num">
                                      <p:cBhvr additive="base">
                                        <p:cTn id="13" dur="500" fill="hold"/>
                                        <p:tgtEl>
                                          <p:spTgt spid="35"/>
                                        </p:tgtEl>
                                        <p:attrNameLst>
                                          <p:attrName>ppt_x</p:attrName>
                                        </p:attrNameLst>
                                      </p:cBhvr>
                                      <p:tavLst>
                                        <p:tav tm="0">
                                          <p:val>
                                            <p:strVal val="0-#ppt_w/2"/>
                                          </p:val>
                                        </p:tav>
                                        <p:tav tm="100000">
                                          <p:val>
                                            <p:strVal val="#ppt_x"/>
                                          </p:val>
                                        </p:tav>
                                      </p:tavLst>
                                    </p:anim>
                                    <p:anim calcmode="lin" valueType="num">
                                      <p:cBhvr additive="base">
                                        <p:cTn id="14" dur="500" fill="hold"/>
                                        <p:tgtEl>
                                          <p:spTgt spid="3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a:extLst>
              <a:ext uri="{FF2B5EF4-FFF2-40B4-BE49-F238E27FC236}">
                <a16:creationId xmlns:a16="http://schemas.microsoft.com/office/drawing/2014/main" id="{AA90F974-BBAD-4954-8C8B-66C25210EADE}"/>
              </a:ext>
            </a:extLst>
          </p:cNvPr>
          <p:cNvGrpSpPr/>
          <p:nvPr/>
        </p:nvGrpSpPr>
        <p:grpSpPr>
          <a:xfrm>
            <a:off x="9870097" y="1889116"/>
            <a:ext cx="1824405" cy="1844296"/>
            <a:chOff x="8784532" y="3105589"/>
            <a:chExt cx="2060688" cy="2083155"/>
          </a:xfrm>
        </p:grpSpPr>
        <p:sp>
          <p:nvSpPr>
            <p:cNvPr id="61" name="Rectangle: Rounded Corners 60">
              <a:extLst>
                <a:ext uri="{FF2B5EF4-FFF2-40B4-BE49-F238E27FC236}">
                  <a16:creationId xmlns:a16="http://schemas.microsoft.com/office/drawing/2014/main" id="{32C60377-B5A1-476B-A670-4360D6E7F1CA}"/>
                </a:ext>
              </a:extLst>
            </p:cNvPr>
            <p:cNvSpPr/>
            <p:nvPr/>
          </p:nvSpPr>
          <p:spPr>
            <a:xfrm>
              <a:off x="9058963" y="3932385"/>
              <a:ext cx="1511826" cy="465883"/>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pic>
          <p:nvPicPr>
            <p:cNvPr id="62" name="Graphic 61">
              <a:extLst>
                <a:ext uri="{FF2B5EF4-FFF2-40B4-BE49-F238E27FC236}">
                  <a16:creationId xmlns:a16="http://schemas.microsoft.com/office/drawing/2014/main" id="{201E3B60-57C6-4166-9DF0-21B610781E2E}"/>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b="19128"/>
            <a:stretch/>
          </p:blipFill>
          <p:spPr>
            <a:xfrm>
              <a:off x="8784532" y="3105589"/>
              <a:ext cx="2060688" cy="2083155"/>
            </a:xfrm>
            <a:prstGeom prst="rect">
              <a:avLst/>
            </a:prstGeom>
          </p:spPr>
        </p:pic>
        <p:pic>
          <p:nvPicPr>
            <p:cNvPr id="63" name="Graphic 62">
              <a:extLst>
                <a:ext uri="{FF2B5EF4-FFF2-40B4-BE49-F238E27FC236}">
                  <a16:creationId xmlns:a16="http://schemas.microsoft.com/office/drawing/2014/main" id="{12551F8D-E451-41F4-8D1F-4BCD85D72DDC}"/>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097905" y="3946861"/>
              <a:ext cx="146980" cy="150110"/>
            </a:xfrm>
            <a:prstGeom prst="rect">
              <a:avLst/>
            </a:prstGeom>
          </p:spPr>
        </p:pic>
        <p:pic>
          <p:nvPicPr>
            <p:cNvPr id="64" name="Graphic 63">
              <a:extLst>
                <a:ext uri="{FF2B5EF4-FFF2-40B4-BE49-F238E27FC236}">
                  <a16:creationId xmlns:a16="http://schemas.microsoft.com/office/drawing/2014/main" id="{21C82B38-E49C-464A-9BA4-559414E420A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098523" y="4073347"/>
              <a:ext cx="146980" cy="150110"/>
            </a:xfrm>
            <a:prstGeom prst="rect">
              <a:avLst/>
            </a:prstGeom>
          </p:spPr>
        </p:pic>
        <p:pic>
          <p:nvPicPr>
            <p:cNvPr id="65" name="Graphic 64">
              <a:extLst>
                <a:ext uri="{FF2B5EF4-FFF2-40B4-BE49-F238E27FC236}">
                  <a16:creationId xmlns:a16="http://schemas.microsoft.com/office/drawing/2014/main" id="{AFCBF026-65FF-47CB-86E8-C1B9A37D2B1D}"/>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101607" y="4215471"/>
              <a:ext cx="148564" cy="139585"/>
            </a:xfrm>
            <a:prstGeom prst="rect">
              <a:avLst/>
            </a:prstGeom>
          </p:spPr>
        </p:pic>
        <p:pic>
          <p:nvPicPr>
            <p:cNvPr id="66" name="Graphic 65">
              <a:extLst>
                <a:ext uri="{FF2B5EF4-FFF2-40B4-BE49-F238E27FC236}">
                  <a16:creationId xmlns:a16="http://schemas.microsoft.com/office/drawing/2014/main" id="{5CA0B8F4-2351-4D58-AF2E-9284799CD5E5}"/>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315264" y="4078290"/>
              <a:ext cx="146980" cy="150110"/>
            </a:xfrm>
            <a:prstGeom prst="rect">
              <a:avLst/>
            </a:prstGeom>
          </p:spPr>
        </p:pic>
        <p:pic>
          <p:nvPicPr>
            <p:cNvPr id="67" name="Graphic 66">
              <a:extLst>
                <a:ext uri="{FF2B5EF4-FFF2-40B4-BE49-F238E27FC236}">
                  <a16:creationId xmlns:a16="http://schemas.microsoft.com/office/drawing/2014/main" id="{2EEBD2E4-6FF7-4B49-BC4B-C4D753EB674B}"/>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315882" y="4204776"/>
              <a:ext cx="146980" cy="150110"/>
            </a:xfrm>
            <a:prstGeom prst="rect">
              <a:avLst/>
            </a:prstGeom>
          </p:spPr>
        </p:pic>
        <p:pic>
          <p:nvPicPr>
            <p:cNvPr id="68" name="Graphic 67">
              <a:extLst>
                <a:ext uri="{FF2B5EF4-FFF2-40B4-BE49-F238E27FC236}">
                  <a16:creationId xmlns:a16="http://schemas.microsoft.com/office/drawing/2014/main" id="{EE6527AB-AD01-41F0-99A0-C875F08A7A76}"/>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317712" y="3953555"/>
              <a:ext cx="148564" cy="139585"/>
            </a:xfrm>
            <a:prstGeom prst="rect">
              <a:avLst/>
            </a:prstGeom>
          </p:spPr>
        </p:pic>
        <p:pic>
          <p:nvPicPr>
            <p:cNvPr id="69" name="Graphic 68">
              <a:extLst>
                <a:ext uri="{FF2B5EF4-FFF2-40B4-BE49-F238E27FC236}">
                  <a16:creationId xmlns:a16="http://schemas.microsoft.com/office/drawing/2014/main" id="{B50C3897-A476-475F-AFC6-B0F2F4B90B3F}"/>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156865" y="4204776"/>
              <a:ext cx="146980" cy="150110"/>
            </a:xfrm>
            <a:prstGeom prst="rect">
              <a:avLst/>
            </a:prstGeom>
          </p:spPr>
        </p:pic>
        <p:pic>
          <p:nvPicPr>
            <p:cNvPr id="70" name="Graphic 69">
              <a:extLst>
                <a:ext uri="{FF2B5EF4-FFF2-40B4-BE49-F238E27FC236}">
                  <a16:creationId xmlns:a16="http://schemas.microsoft.com/office/drawing/2014/main" id="{E9C0FF33-4C7F-4B8D-BCD4-9346903490B3}"/>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161428" y="3946861"/>
              <a:ext cx="146980" cy="150110"/>
            </a:xfrm>
            <a:prstGeom prst="rect">
              <a:avLst/>
            </a:prstGeom>
          </p:spPr>
        </p:pic>
        <p:pic>
          <p:nvPicPr>
            <p:cNvPr id="71" name="Graphic 70">
              <a:extLst>
                <a:ext uri="{FF2B5EF4-FFF2-40B4-BE49-F238E27FC236}">
                  <a16:creationId xmlns:a16="http://schemas.microsoft.com/office/drawing/2014/main" id="{F1D620F4-6CE3-4D5C-8E8B-9F4B18C3812A}"/>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10159313" y="4083872"/>
              <a:ext cx="148564" cy="139585"/>
            </a:xfrm>
            <a:prstGeom prst="rect">
              <a:avLst/>
            </a:prstGeom>
          </p:spPr>
        </p:pic>
        <p:pic>
          <p:nvPicPr>
            <p:cNvPr id="72" name="Graphic 71">
              <a:extLst>
                <a:ext uri="{FF2B5EF4-FFF2-40B4-BE49-F238E27FC236}">
                  <a16:creationId xmlns:a16="http://schemas.microsoft.com/office/drawing/2014/main" id="{5A3796CF-B648-427C-885D-36494F2CE09D}"/>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376111" y="4080751"/>
              <a:ext cx="146980" cy="150110"/>
            </a:xfrm>
            <a:prstGeom prst="rect">
              <a:avLst/>
            </a:prstGeom>
          </p:spPr>
        </p:pic>
        <p:pic>
          <p:nvPicPr>
            <p:cNvPr id="73" name="Graphic 72">
              <a:extLst>
                <a:ext uri="{FF2B5EF4-FFF2-40B4-BE49-F238E27FC236}">
                  <a16:creationId xmlns:a16="http://schemas.microsoft.com/office/drawing/2014/main" id="{54C02111-4A92-4CC5-94B8-A1360884CE30}"/>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376729" y="4207237"/>
              <a:ext cx="146980" cy="150110"/>
            </a:xfrm>
            <a:prstGeom prst="rect">
              <a:avLst/>
            </a:prstGeom>
          </p:spPr>
        </p:pic>
        <p:pic>
          <p:nvPicPr>
            <p:cNvPr id="74" name="Graphic 73">
              <a:extLst>
                <a:ext uri="{FF2B5EF4-FFF2-40B4-BE49-F238E27FC236}">
                  <a16:creationId xmlns:a16="http://schemas.microsoft.com/office/drawing/2014/main" id="{3493AA62-E086-4697-A49E-2907717019D1}"/>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10378559" y="3956016"/>
              <a:ext cx="148564" cy="139585"/>
            </a:xfrm>
            <a:prstGeom prst="rect">
              <a:avLst/>
            </a:prstGeom>
          </p:spPr>
        </p:pic>
        <p:pic>
          <p:nvPicPr>
            <p:cNvPr id="75" name="Graphic 74">
              <a:extLst>
                <a:ext uri="{FF2B5EF4-FFF2-40B4-BE49-F238E27FC236}">
                  <a16:creationId xmlns:a16="http://schemas.microsoft.com/office/drawing/2014/main" id="{E53FE720-2D02-4E34-901E-48C1E6B8C981}"/>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945731" y="3950563"/>
              <a:ext cx="148564" cy="139585"/>
            </a:xfrm>
            <a:prstGeom prst="rect">
              <a:avLst/>
            </a:prstGeom>
          </p:spPr>
        </p:pic>
        <p:pic>
          <p:nvPicPr>
            <p:cNvPr id="76" name="Graphic 75">
              <a:extLst>
                <a:ext uri="{FF2B5EF4-FFF2-40B4-BE49-F238E27FC236}">
                  <a16:creationId xmlns:a16="http://schemas.microsoft.com/office/drawing/2014/main" id="{58FFBEA9-0119-454B-9BCC-CD77B962704D}"/>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945731" y="4082891"/>
              <a:ext cx="148564" cy="139585"/>
            </a:xfrm>
            <a:prstGeom prst="rect">
              <a:avLst/>
            </a:prstGeom>
          </p:spPr>
        </p:pic>
        <p:pic>
          <p:nvPicPr>
            <p:cNvPr id="77" name="Graphic 76">
              <a:extLst>
                <a:ext uri="{FF2B5EF4-FFF2-40B4-BE49-F238E27FC236}">
                  <a16:creationId xmlns:a16="http://schemas.microsoft.com/office/drawing/2014/main" id="{3D1BFC53-6014-493A-AE3F-81D7AE93F1D1}"/>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951806" y="4212173"/>
              <a:ext cx="146980" cy="150110"/>
            </a:xfrm>
            <a:prstGeom prst="rect">
              <a:avLst/>
            </a:prstGeom>
          </p:spPr>
        </p:pic>
        <p:pic>
          <p:nvPicPr>
            <p:cNvPr id="78" name="Graphic 77">
              <a:extLst>
                <a:ext uri="{FF2B5EF4-FFF2-40B4-BE49-F238E27FC236}">
                  <a16:creationId xmlns:a16="http://schemas.microsoft.com/office/drawing/2014/main" id="{02FE9792-2541-4499-879C-F4D30D9684DE}"/>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731890" y="4217435"/>
              <a:ext cx="148564" cy="139585"/>
            </a:xfrm>
            <a:prstGeom prst="rect">
              <a:avLst/>
            </a:prstGeom>
          </p:spPr>
        </p:pic>
        <p:pic>
          <p:nvPicPr>
            <p:cNvPr id="79" name="Graphic 78">
              <a:extLst>
                <a:ext uri="{FF2B5EF4-FFF2-40B4-BE49-F238E27FC236}">
                  <a16:creationId xmlns:a16="http://schemas.microsoft.com/office/drawing/2014/main" id="{08FC472C-C3E8-4D10-9157-F4773EC6B5E6}"/>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737686" y="3950194"/>
              <a:ext cx="148564" cy="139585"/>
            </a:xfrm>
            <a:prstGeom prst="rect">
              <a:avLst/>
            </a:prstGeom>
          </p:spPr>
        </p:pic>
        <p:pic>
          <p:nvPicPr>
            <p:cNvPr id="80" name="Graphic 79">
              <a:extLst>
                <a:ext uri="{FF2B5EF4-FFF2-40B4-BE49-F238E27FC236}">
                  <a16:creationId xmlns:a16="http://schemas.microsoft.com/office/drawing/2014/main" id="{812CC651-DEEE-4D36-B933-7A705DC015C2}"/>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737666" y="4078556"/>
              <a:ext cx="146980" cy="150110"/>
            </a:xfrm>
            <a:prstGeom prst="rect">
              <a:avLst/>
            </a:prstGeom>
          </p:spPr>
        </p:pic>
        <p:pic>
          <p:nvPicPr>
            <p:cNvPr id="81" name="Graphic 80">
              <a:extLst>
                <a:ext uri="{FF2B5EF4-FFF2-40B4-BE49-F238E27FC236}">
                  <a16:creationId xmlns:a16="http://schemas.microsoft.com/office/drawing/2014/main" id="{2A8487A2-E75B-4D36-8664-5BB4C3CE6B42}"/>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519304" y="4217169"/>
              <a:ext cx="148564" cy="139585"/>
            </a:xfrm>
            <a:prstGeom prst="rect">
              <a:avLst/>
            </a:prstGeom>
          </p:spPr>
        </p:pic>
        <p:pic>
          <p:nvPicPr>
            <p:cNvPr id="82" name="Graphic 81">
              <a:extLst>
                <a:ext uri="{FF2B5EF4-FFF2-40B4-BE49-F238E27FC236}">
                  <a16:creationId xmlns:a16="http://schemas.microsoft.com/office/drawing/2014/main" id="{0FB56EEA-D4F5-46DD-A143-F1183B8CF922}"/>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525100" y="3949928"/>
              <a:ext cx="148564" cy="139585"/>
            </a:xfrm>
            <a:prstGeom prst="rect">
              <a:avLst/>
            </a:prstGeom>
          </p:spPr>
        </p:pic>
        <p:pic>
          <p:nvPicPr>
            <p:cNvPr id="83" name="Graphic 82">
              <a:extLst>
                <a:ext uri="{FF2B5EF4-FFF2-40B4-BE49-F238E27FC236}">
                  <a16:creationId xmlns:a16="http://schemas.microsoft.com/office/drawing/2014/main" id="{A420B535-6E94-4D22-9CB3-9777D04B7C69}"/>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525080" y="4078290"/>
              <a:ext cx="146980" cy="150110"/>
            </a:xfrm>
            <a:prstGeom prst="rect">
              <a:avLst/>
            </a:prstGeom>
          </p:spPr>
        </p:pic>
      </p:grpSp>
      <p:sp>
        <p:nvSpPr>
          <p:cNvPr id="2" name="Rectangle 1">
            <a:extLst>
              <a:ext uri="{FF2B5EF4-FFF2-40B4-BE49-F238E27FC236}">
                <a16:creationId xmlns:a16="http://schemas.microsoft.com/office/drawing/2014/main" id="{A3308384-DA3A-4377-8DD3-43CE90BECF23}"/>
              </a:ext>
            </a:extLst>
          </p:cNvPr>
          <p:cNvSpPr/>
          <p:nvPr/>
        </p:nvSpPr>
        <p:spPr>
          <a:xfrm>
            <a:off x="2404997" y="0"/>
            <a:ext cx="5523978" cy="658869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dirty="0"/>
          </a:p>
        </p:txBody>
      </p:sp>
      <p:pic>
        <p:nvPicPr>
          <p:cNvPr id="6" name="Picture 2" descr="May be an image of text that says '3lAgytech Simplifying Engineering'">
            <a:extLst>
              <a:ext uri="{FF2B5EF4-FFF2-40B4-BE49-F238E27FC236}">
                <a16:creationId xmlns:a16="http://schemas.microsoft.com/office/drawing/2014/main" id="{EA11242B-33A5-4485-BB9E-F75166952C6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Group 30">
            <a:extLst>
              <a:ext uri="{FF2B5EF4-FFF2-40B4-BE49-F238E27FC236}">
                <a16:creationId xmlns:a16="http://schemas.microsoft.com/office/drawing/2014/main" id="{895B7672-33D1-4EA5-ABDE-6F5AAE577039}"/>
              </a:ext>
            </a:extLst>
          </p:cNvPr>
          <p:cNvGrpSpPr/>
          <p:nvPr/>
        </p:nvGrpSpPr>
        <p:grpSpPr>
          <a:xfrm>
            <a:off x="3890330" y="593796"/>
            <a:ext cx="4411339" cy="5670407"/>
            <a:chOff x="4432036" y="1270054"/>
            <a:chExt cx="3327928" cy="4277773"/>
          </a:xfrm>
        </p:grpSpPr>
        <p:pic>
          <p:nvPicPr>
            <p:cNvPr id="4" name="Graphic 3">
              <a:extLst>
                <a:ext uri="{FF2B5EF4-FFF2-40B4-BE49-F238E27FC236}">
                  <a16:creationId xmlns:a16="http://schemas.microsoft.com/office/drawing/2014/main" id="{4ECC20C5-AC41-41A4-BB51-4DDDC4C20631}"/>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23600"/>
            <a:stretch/>
          </p:blipFill>
          <p:spPr>
            <a:xfrm>
              <a:off x="4432036" y="2371910"/>
              <a:ext cx="3327928" cy="3175917"/>
            </a:xfrm>
            <a:prstGeom prst="rect">
              <a:avLst/>
            </a:prstGeom>
          </p:spPr>
        </p:pic>
        <p:pic>
          <p:nvPicPr>
            <p:cNvPr id="5" name="Graphic 4">
              <a:extLst>
                <a:ext uri="{FF2B5EF4-FFF2-40B4-BE49-F238E27FC236}">
                  <a16:creationId xmlns:a16="http://schemas.microsoft.com/office/drawing/2014/main" id="{1DBD61F0-7028-4790-B1B0-F8DE51A07CEA}"/>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20048"/>
            <a:stretch/>
          </p:blipFill>
          <p:spPr>
            <a:xfrm>
              <a:off x="5259065" y="1270054"/>
              <a:ext cx="1673870" cy="1672865"/>
            </a:xfrm>
            <a:prstGeom prst="rect">
              <a:avLst/>
            </a:prstGeom>
          </p:spPr>
        </p:pic>
      </p:grpSp>
      <p:pic>
        <p:nvPicPr>
          <p:cNvPr id="33" name="Graphic 32">
            <a:extLst>
              <a:ext uri="{FF2B5EF4-FFF2-40B4-BE49-F238E27FC236}">
                <a16:creationId xmlns:a16="http://schemas.microsoft.com/office/drawing/2014/main" id="{E1BC2A26-81DC-4E9E-BB5D-5DBEBF2D791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081664" y="2670505"/>
            <a:ext cx="449433" cy="561792"/>
          </a:xfrm>
          <a:prstGeom prst="rect">
            <a:avLst/>
          </a:prstGeom>
        </p:spPr>
      </p:pic>
      <p:grpSp>
        <p:nvGrpSpPr>
          <p:cNvPr id="43" name="Group 42">
            <a:extLst>
              <a:ext uri="{FF2B5EF4-FFF2-40B4-BE49-F238E27FC236}">
                <a16:creationId xmlns:a16="http://schemas.microsoft.com/office/drawing/2014/main" id="{0B642C5B-86BD-40A1-AD48-041624B25CFF}"/>
              </a:ext>
            </a:extLst>
          </p:cNvPr>
          <p:cNvGrpSpPr/>
          <p:nvPr/>
        </p:nvGrpSpPr>
        <p:grpSpPr>
          <a:xfrm>
            <a:off x="1235183" y="3333604"/>
            <a:ext cx="3451374" cy="1361460"/>
            <a:chOff x="1235183" y="3333604"/>
            <a:chExt cx="3451374" cy="1361460"/>
          </a:xfrm>
        </p:grpSpPr>
        <p:pic>
          <p:nvPicPr>
            <p:cNvPr id="44" name="Graphic 43">
              <a:extLst>
                <a:ext uri="{FF2B5EF4-FFF2-40B4-BE49-F238E27FC236}">
                  <a16:creationId xmlns:a16="http://schemas.microsoft.com/office/drawing/2014/main" id="{85E665F0-42DC-43C4-82CA-991BEB38BD9D}"/>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l="2472" t="13101" r="28" b="36217"/>
            <a:stretch/>
          </p:blipFill>
          <p:spPr>
            <a:xfrm rot="14205273" flipH="1">
              <a:off x="2934079" y="3857570"/>
              <a:ext cx="1071562" cy="603425"/>
            </a:xfrm>
            <a:prstGeom prst="rect">
              <a:avLst/>
            </a:prstGeom>
          </p:spPr>
        </p:pic>
        <p:sp>
          <p:nvSpPr>
            <p:cNvPr id="45" name="TextBox 44">
              <a:extLst>
                <a:ext uri="{FF2B5EF4-FFF2-40B4-BE49-F238E27FC236}">
                  <a16:creationId xmlns:a16="http://schemas.microsoft.com/office/drawing/2014/main" id="{C3522D5F-877C-4818-9E0C-9B592D10DFDB}"/>
                </a:ext>
              </a:extLst>
            </p:cNvPr>
            <p:cNvSpPr txBox="1"/>
            <p:nvPr/>
          </p:nvSpPr>
          <p:spPr>
            <a:xfrm rot="21264721">
              <a:off x="1235183" y="3333604"/>
              <a:ext cx="3451374" cy="523220"/>
            </a:xfrm>
            <a:prstGeom prst="rect">
              <a:avLst/>
            </a:prstGeom>
            <a:noFill/>
          </p:spPr>
          <p:txBody>
            <a:bodyPr wrap="square" rtlCol="0">
              <a:spAutoFit/>
            </a:bodyPr>
            <a:lstStyle/>
            <a:p>
              <a:pPr algn="ctr"/>
              <a:r>
                <a:rPr lang="en-US" sz="2800" dirty="0">
                  <a:solidFill>
                    <a:schemeClr val="bg1"/>
                  </a:solidFill>
                  <a:latin typeface="Quicksand Bold" pitchFamily="50" charset="0"/>
                </a:rPr>
                <a:t>ELBO</a:t>
              </a:r>
              <a:endParaRPr lang="en-SG" sz="2800" dirty="0">
                <a:solidFill>
                  <a:schemeClr val="bg1"/>
                </a:solidFill>
                <a:latin typeface="Quicksand Bold" pitchFamily="50" charset="0"/>
              </a:endParaRPr>
            </a:p>
          </p:txBody>
        </p:sp>
      </p:grpSp>
      <p:grpSp>
        <p:nvGrpSpPr>
          <p:cNvPr id="48" name="Group 47">
            <a:extLst>
              <a:ext uri="{FF2B5EF4-FFF2-40B4-BE49-F238E27FC236}">
                <a16:creationId xmlns:a16="http://schemas.microsoft.com/office/drawing/2014/main" id="{CBAA8738-3D1A-4BB4-B0F6-B4357B6FE81D}"/>
              </a:ext>
            </a:extLst>
          </p:cNvPr>
          <p:cNvGrpSpPr/>
          <p:nvPr/>
        </p:nvGrpSpPr>
        <p:grpSpPr>
          <a:xfrm>
            <a:off x="2207318" y="-627321"/>
            <a:ext cx="1438193" cy="2498650"/>
            <a:chOff x="5588202" y="-627321"/>
            <a:chExt cx="1438193" cy="2498650"/>
          </a:xfrm>
        </p:grpSpPr>
        <p:sp>
          <p:nvSpPr>
            <p:cNvPr id="49" name="Oval 48">
              <a:extLst>
                <a:ext uri="{FF2B5EF4-FFF2-40B4-BE49-F238E27FC236}">
                  <a16:creationId xmlns:a16="http://schemas.microsoft.com/office/drawing/2014/main" id="{7ADAB092-7916-4D01-8CA6-F4E20F9A2414}"/>
                </a:ext>
              </a:extLst>
            </p:cNvPr>
            <p:cNvSpPr/>
            <p:nvPr/>
          </p:nvSpPr>
          <p:spPr>
            <a:xfrm>
              <a:off x="5588202" y="433136"/>
              <a:ext cx="1438193" cy="1438193"/>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nvGrpSpPr>
            <p:cNvPr id="50" name="Group 49">
              <a:extLst>
                <a:ext uri="{FF2B5EF4-FFF2-40B4-BE49-F238E27FC236}">
                  <a16:creationId xmlns:a16="http://schemas.microsoft.com/office/drawing/2014/main" id="{C57F8D51-AA34-449D-BCAB-34D75B40EA2B}"/>
                </a:ext>
              </a:extLst>
            </p:cNvPr>
            <p:cNvGrpSpPr/>
            <p:nvPr/>
          </p:nvGrpSpPr>
          <p:grpSpPr>
            <a:xfrm>
              <a:off x="6292898" y="621590"/>
              <a:ext cx="4897" cy="1068492"/>
              <a:chOff x="6292898" y="621590"/>
              <a:chExt cx="4897" cy="1068492"/>
            </a:xfrm>
          </p:grpSpPr>
          <p:cxnSp>
            <p:nvCxnSpPr>
              <p:cNvPr id="53" name="Straight Connector 52">
                <a:extLst>
                  <a:ext uri="{FF2B5EF4-FFF2-40B4-BE49-F238E27FC236}">
                    <a16:creationId xmlns:a16="http://schemas.microsoft.com/office/drawing/2014/main" id="{F36EB9E3-5D76-41C6-A869-5CF4017E6085}"/>
                  </a:ext>
                </a:extLst>
              </p:cNvPr>
              <p:cNvCxnSpPr/>
              <p:nvPr/>
            </p:nvCxnSpPr>
            <p:spPr>
              <a:xfrm>
                <a:off x="6292898" y="1141599"/>
                <a:ext cx="0" cy="548483"/>
              </a:xfrm>
              <a:prstGeom prst="line">
                <a:avLst/>
              </a:prstGeom>
              <a:ln/>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1B965BD9-B15E-446C-8E68-E687092E6456}"/>
                  </a:ext>
                </a:extLst>
              </p:cNvPr>
              <p:cNvCxnSpPr/>
              <p:nvPr/>
            </p:nvCxnSpPr>
            <p:spPr>
              <a:xfrm>
                <a:off x="6297795" y="621590"/>
                <a:ext cx="0" cy="54848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51" name="Straight Connector 50">
              <a:extLst>
                <a:ext uri="{FF2B5EF4-FFF2-40B4-BE49-F238E27FC236}">
                  <a16:creationId xmlns:a16="http://schemas.microsoft.com/office/drawing/2014/main" id="{61CC5901-1748-47C3-B476-4D954E2918EC}"/>
                </a:ext>
              </a:extLst>
            </p:cNvPr>
            <p:cNvCxnSpPr>
              <a:cxnSpLocks/>
            </p:cNvCxnSpPr>
            <p:nvPr/>
          </p:nvCxnSpPr>
          <p:spPr>
            <a:xfrm>
              <a:off x="6287162" y="1162865"/>
              <a:ext cx="467495" cy="30927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2024467-29CA-4589-909D-59711CB42D48}"/>
                </a:ext>
              </a:extLst>
            </p:cNvPr>
            <p:cNvCxnSpPr>
              <a:cxnSpLocks/>
              <a:stCxn id="49" idx="0"/>
            </p:cNvCxnSpPr>
            <p:nvPr/>
          </p:nvCxnSpPr>
          <p:spPr>
            <a:xfrm flipV="1">
              <a:off x="6307299" y="-627321"/>
              <a:ext cx="0" cy="106045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34513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withEffect">
                                  <p:stCondLst>
                                    <p:cond delay="0"/>
                                  </p:stCondLst>
                                  <p:childTnLst>
                                    <p:animMotion origin="layout" path="M 5E-6 -3.7037E-6 L -0.30352 -3.7037E-6 " pathEditMode="relative" rAng="0" ptsTypes="AA">
                                      <p:cBhvr>
                                        <p:cTn id="6" dur="1000" fill="hold"/>
                                        <p:tgtEl>
                                          <p:spTgt spid="57"/>
                                        </p:tgtEl>
                                        <p:attrNameLst>
                                          <p:attrName>ppt_x</p:attrName>
                                          <p:attrName>ppt_y</p:attrName>
                                        </p:attrNameLst>
                                      </p:cBhvr>
                                      <p:rCtr x="-15182" y="0"/>
                                    </p:animMotion>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1" decel="60000" fill="hold" nodeType="clickEffect">
                                  <p:stCondLst>
                                    <p:cond delay="0"/>
                                  </p:stCondLst>
                                  <p:childTnLst>
                                    <p:set>
                                      <p:cBhvr>
                                        <p:cTn id="14" dur="1" fill="hold">
                                          <p:stCondLst>
                                            <p:cond delay="0"/>
                                          </p:stCondLst>
                                        </p:cTn>
                                        <p:tgtEl>
                                          <p:spTgt spid="48"/>
                                        </p:tgtEl>
                                        <p:attrNameLst>
                                          <p:attrName>style.visibility</p:attrName>
                                        </p:attrNameLst>
                                      </p:cBhvr>
                                      <p:to>
                                        <p:strVal val="visible"/>
                                      </p:to>
                                    </p:set>
                                    <p:anim calcmode="lin" valueType="num">
                                      <p:cBhvr additive="base">
                                        <p:cTn id="15" dur="500" fill="hold"/>
                                        <p:tgtEl>
                                          <p:spTgt spid="48"/>
                                        </p:tgtEl>
                                        <p:attrNameLst>
                                          <p:attrName>ppt_x</p:attrName>
                                        </p:attrNameLst>
                                      </p:cBhvr>
                                      <p:tavLst>
                                        <p:tav tm="0">
                                          <p:val>
                                            <p:strVal val="#ppt_x"/>
                                          </p:val>
                                        </p:tav>
                                        <p:tav tm="100000">
                                          <p:val>
                                            <p:strVal val="#ppt_x"/>
                                          </p:val>
                                        </p:tav>
                                      </p:tavLst>
                                    </p:anim>
                                    <p:anim calcmode="lin" valueType="num">
                                      <p:cBhvr additive="base">
                                        <p:cTn id="16" dur="500" fill="hold"/>
                                        <p:tgtEl>
                                          <p:spTgt spid="4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3308384-DA3A-4377-8DD3-43CE90BECF23}"/>
              </a:ext>
            </a:extLst>
          </p:cNvPr>
          <p:cNvSpPr/>
          <p:nvPr/>
        </p:nvSpPr>
        <p:spPr>
          <a:xfrm>
            <a:off x="2404997" y="0"/>
            <a:ext cx="5523978" cy="658869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dirty="0"/>
          </a:p>
        </p:txBody>
      </p:sp>
      <p:pic>
        <p:nvPicPr>
          <p:cNvPr id="6" name="Picture 2" descr="May be an image of text that says '3lAgytech Simplifying Engineering'">
            <a:extLst>
              <a:ext uri="{FF2B5EF4-FFF2-40B4-BE49-F238E27FC236}">
                <a16:creationId xmlns:a16="http://schemas.microsoft.com/office/drawing/2014/main" id="{EA11242B-33A5-4485-BB9E-F75166952C6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Group 30">
            <a:extLst>
              <a:ext uri="{FF2B5EF4-FFF2-40B4-BE49-F238E27FC236}">
                <a16:creationId xmlns:a16="http://schemas.microsoft.com/office/drawing/2014/main" id="{895B7672-33D1-4EA5-ABDE-6F5AAE577039}"/>
              </a:ext>
            </a:extLst>
          </p:cNvPr>
          <p:cNvGrpSpPr/>
          <p:nvPr/>
        </p:nvGrpSpPr>
        <p:grpSpPr>
          <a:xfrm>
            <a:off x="3890330" y="593796"/>
            <a:ext cx="4411339" cy="5670407"/>
            <a:chOff x="4432036" y="1270054"/>
            <a:chExt cx="3327928" cy="4277773"/>
          </a:xfrm>
        </p:grpSpPr>
        <p:pic>
          <p:nvPicPr>
            <p:cNvPr id="4" name="Graphic 3">
              <a:extLst>
                <a:ext uri="{FF2B5EF4-FFF2-40B4-BE49-F238E27FC236}">
                  <a16:creationId xmlns:a16="http://schemas.microsoft.com/office/drawing/2014/main" id="{4ECC20C5-AC41-41A4-BB51-4DDDC4C20631}"/>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b="23600"/>
            <a:stretch/>
          </p:blipFill>
          <p:spPr>
            <a:xfrm>
              <a:off x="4432036" y="2371910"/>
              <a:ext cx="3327928" cy="3175917"/>
            </a:xfrm>
            <a:prstGeom prst="rect">
              <a:avLst/>
            </a:prstGeom>
          </p:spPr>
        </p:pic>
        <p:pic>
          <p:nvPicPr>
            <p:cNvPr id="5" name="Graphic 4">
              <a:extLst>
                <a:ext uri="{FF2B5EF4-FFF2-40B4-BE49-F238E27FC236}">
                  <a16:creationId xmlns:a16="http://schemas.microsoft.com/office/drawing/2014/main" id="{1DBD61F0-7028-4790-B1B0-F8DE51A07CEA}"/>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b="20048"/>
            <a:stretch/>
          </p:blipFill>
          <p:spPr>
            <a:xfrm>
              <a:off x="5259065" y="1270054"/>
              <a:ext cx="1673870" cy="1672865"/>
            </a:xfrm>
            <a:prstGeom prst="rect">
              <a:avLst/>
            </a:prstGeom>
          </p:spPr>
        </p:pic>
      </p:grpSp>
      <p:pic>
        <p:nvPicPr>
          <p:cNvPr id="33" name="Graphic 32">
            <a:extLst>
              <a:ext uri="{FF2B5EF4-FFF2-40B4-BE49-F238E27FC236}">
                <a16:creationId xmlns:a16="http://schemas.microsoft.com/office/drawing/2014/main" id="{E1BC2A26-81DC-4E9E-BB5D-5DBEBF2D79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81664" y="2670505"/>
            <a:ext cx="449433" cy="561792"/>
          </a:xfrm>
          <a:prstGeom prst="rect">
            <a:avLst/>
          </a:prstGeom>
        </p:spPr>
      </p:pic>
      <p:grpSp>
        <p:nvGrpSpPr>
          <p:cNvPr id="43" name="Group 42">
            <a:extLst>
              <a:ext uri="{FF2B5EF4-FFF2-40B4-BE49-F238E27FC236}">
                <a16:creationId xmlns:a16="http://schemas.microsoft.com/office/drawing/2014/main" id="{0B642C5B-86BD-40A1-AD48-041624B25CFF}"/>
              </a:ext>
            </a:extLst>
          </p:cNvPr>
          <p:cNvGrpSpPr/>
          <p:nvPr/>
        </p:nvGrpSpPr>
        <p:grpSpPr>
          <a:xfrm>
            <a:off x="1235183" y="3333604"/>
            <a:ext cx="3451374" cy="1361460"/>
            <a:chOff x="1235183" y="3333604"/>
            <a:chExt cx="3451374" cy="1361460"/>
          </a:xfrm>
        </p:grpSpPr>
        <p:pic>
          <p:nvPicPr>
            <p:cNvPr id="44" name="Graphic 43">
              <a:extLst>
                <a:ext uri="{FF2B5EF4-FFF2-40B4-BE49-F238E27FC236}">
                  <a16:creationId xmlns:a16="http://schemas.microsoft.com/office/drawing/2014/main" id="{85E665F0-42DC-43C4-82CA-991BEB38BD9D}"/>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l="2472" t="13101" r="28" b="36217"/>
            <a:stretch/>
          </p:blipFill>
          <p:spPr>
            <a:xfrm rot="14205273" flipH="1">
              <a:off x="2934079" y="3857570"/>
              <a:ext cx="1071562" cy="603425"/>
            </a:xfrm>
            <a:prstGeom prst="rect">
              <a:avLst/>
            </a:prstGeom>
          </p:spPr>
        </p:pic>
        <p:sp>
          <p:nvSpPr>
            <p:cNvPr id="45" name="TextBox 44">
              <a:extLst>
                <a:ext uri="{FF2B5EF4-FFF2-40B4-BE49-F238E27FC236}">
                  <a16:creationId xmlns:a16="http://schemas.microsoft.com/office/drawing/2014/main" id="{C3522D5F-877C-4818-9E0C-9B592D10DFDB}"/>
                </a:ext>
              </a:extLst>
            </p:cNvPr>
            <p:cNvSpPr txBox="1"/>
            <p:nvPr/>
          </p:nvSpPr>
          <p:spPr>
            <a:xfrm rot="21264721">
              <a:off x="1235183" y="3333604"/>
              <a:ext cx="3451374" cy="523220"/>
            </a:xfrm>
            <a:prstGeom prst="rect">
              <a:avLst/>
            </a:prstGeom>
            <a:noFill/>
          </p:spPr>
          <p:txBody>
            <a:bodyPr wrap="square" rtlCol="0">
              <a:spAutoFit/>
            </a:bodyPr>
            <a:lstStyle/>
            <a:p>
              <a:pPr algn="ctr"/>
              <a:r>
                <a:rPr lang="en-US" sz="2800" dirty="0">
                  <a:solidFill>
                    <a:schemeClr val="bg1"/>
                  </a:solidFill>
                  <a:latin typeface="Quicksand Bold" pitchFamily="50" charset="0"/>
                </a:rPr>
                <a:t>ELBO</a:t>
              </a:r>
              <a:endParaRPr lang="en-SG" sz="2800" dirty="0">
                <a:solidFill>
                  <a:schemeClr val="bg1"/>
                </a:solidFill>
                <a:latin typeface="Quicksand Bold" pitchFamily="50" charset="0"/>
              </a:endParaRPr>
            </a:p>
          </p:txBody>
        </p:sp>
      </p:grpSp>
      <p:sp>
        <p:nvSpPr>
          <p:cNvPr id="18" name="Oval 17">
            <a:extLst>
              <a:ext uri="{FF2B5EF4-FFF2-40B4-BE49-F238E27FC236}">
                <a16:creationId xmlns:a16="http://schemas.microsoft.com/office/drawing/2014/main" id="{866A1BE3-B03D-41EA-A935-1F8F758A33A0}"/>
              </a:ext>
            </a:extLst>
          </p:cNvPr>
          <p:cNvSpPr/>
          <p:nvPr/>
        </p:nvSpPr>
        <p:spPr>
          <a:xfrm>
            <a:off x="2207318" y="433136"/>
            <a:ext cx="1438193" cy="1438193"/>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nvGrpSpPr>
          <p:cNvPr id="19" name="Group 18">
            <a:extLst>
              <a:ext uri="{FF2B5EF4-FFF2-40B4-BE49-F238E27FC236}">
                <a16:creationId xmlns:a16="http://schemas.microsoft.com/office/drawing/2014/main" id="{4167F292-AF75-4A1D-ACDA-117A34585FBD}"/>
              </a:ext>
            </a:extLst>
          </p:cNvPr>
          <p:cNvGrpSpPr/>
          <p:nvPr/>
        </p:nvGrpSpPr>
        <p:grpSpPr>
          <a:xfrm>
            <a:off x="2912014" y="621590"/>
            <a:ext cx="4897" cy="1068492"/>
            <a:chOff x="6292898" y="621590"/>
            <a:chExt cx="4897" cy="1068492"/>
          </a:xfrm>
        </p:grpSpPr>
        <p:cxnSp>
          <p:nvCxnSpPr>
            <p:cNvPr id="20" name="Straight Connector 19">
              <a:extLst>
                <a:ext uri="{FF2B5EF4-FFF2-40B4-BE49-F238E27FC236}">
                  <a16:creationId xmlns:a16="http://schemas.microsoft.com/office/drawing/2014/main" id="{71B68921-0998-4163-B175-2003257FB7DE}"/>
                </a:ext>
              </a:extLst>
            </p:cNvPr>
            <p:cNvCxnSpPr/>
            <p:nvPr/>
          </p:nvCxnSpPr>
          <p:spPr>
            <a:xfrm>
              <a:off x="6292898" y="1141599"/>
              <a:ext cx="0" cy="548483"/>
            </a:xfrm>
            <a:prstGeom prst="line">
              <a:avLst/>
            </a:prstGeom>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F12DC8DB-C7DE-492B-8C80-387845943ECF}"/>
                </a:ext>
              </a:extLst>
            </p:cNvPr>
            <p:cNvCxnSpPr/>
            <p:nvPr/>
          </p:nvCxnSpPr>
          <p:spPr>
            <a:xfrm>
              <a:off x="6297795" y="621590"/>
              <a:ext cx="0" cy="54848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E05C8FBF-4FE3-4E3F-96E5-423B0333FC19}"/>
              </a:ext>
            </a:extLst>
          </p:cNvPr>
          <p:cNvCxnSpPr>
            <a:cxnSpLocks/>
          </p:cNvCxnSpPr>
          <p:nvPr/>
        </p:nvCxnSpPr>
        <p:spPr>
          <a:xfrm>
            <a:off x="2906278" y="1162865"/>
            <a:ext cx="467495" cy="30927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7E09297-9342-4B04-A954-B64F6C6EBD04}"/>
              </a:ext>
            </a:extLst>
          </p:cNvPr>
          <p:cNvCxnSpPr>
            <a:cxnSpLocks/>
            <a:stCxn id="18" idx="0"/>
          </p:cNvCxnSpPr>
          <p:nvPr/>
        </p:nvCxnSpPr>
        <p:spPr>
          <a:xfrm flipV="1">
            <a:off x="2926415" y="-627321"/>
            <a:ext cx="0" cy="106045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290864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8" presetClass="emph" presetSubtype="0" accel="40000" fill="hold" nodeType="withEffect" p14:presetBounceEnd="40000">
                                      <p:stCondLst>
                                        <p:cond delay="0"/>
                                      </p:stCondLst>
                                      <p:childTnLst>
                                        <p:animRot by="21600000" p14:bounceEnd="40000">
                                          <p:cBhvr>
                                            <p:cTn id="8" dur="1000" fill="hold"/>
                                            <p:tgtEl>
                                              <p:spTgt spid="1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8" presetClass="emph" presetSubtype="0" accel="40000" fill="hold" nodeType="withEffect">
                                      <p:stCondLst>
                                        <p:cond delay="0"/>
                                      </p:stCondLst>
                                      <p:childTnLst>
                                        <p:animRot by="21600000">
                                          <p:cBhvr>
                                            <p:cTn id="8" dur="1000" fill="hold"/>
                                            <p:tgtEl>
                                              <p:spTgt spid="1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3308384-DA3A-4377-8DD3-43CE90BECF23}"/>
              </a:ext>
            </a:extLst>
          </p:cNvPr>
          <p:cNvSpPr/>
          <p:nvPr/>
        </p:nvSpPr>
        <p:spPr>
          <a:xfrm>
            <a:off x="2404997" y="0"/>
            <a:ext cx="5523978" cy="658869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dirty="0"/>
          </a:p>
        </p:txBody>
      </p:sp>
      <p:pic>
        <p:nvPicPr>
          <p:cNvPr id="6" name="Picture 2" descr="May be an image of text that says '3lAgytech Simplifying Engineering'">
            <a:extLst>
              <a:ext uri="{FF2B5EF4-FFF2-40B4-BE49-F238E27FC236}">
                <a16:creationId xmlns:a16="http://schemas.microsoft.com/office/drawing/2014/main" id="{EA11242B-33A5-4485-BB9E-F75166952C6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Group 30">
            <a:extLst>
              <a:ext uri="{FF2B5EF4-FFF2-40B4-BE49-F238E27FC236}">
                <a16:creationId xmlns:a16="http://schemas.microsoft.com/office/drawing/2014/main" id="{895B7672-33D1-4EA5-ABDE-6F5AAE577039}"/>
              </a:ext>
            </a:extLst>
          </p:cNvPr>
          <p:cNvGrpSpPr/>
          <p:nvPr/>
        </p:nvGrpSpPr>
        <p:grpSpPr>
          <a:xfrm>
            <a:off x="3890330" y="593796"/>
            <a:ext cx="4411339" cy="5670407"/>
            <a:chOff x="4432036" y="1270054"/>
            <a:chExt cx="3327928" cy="4277773"/>
          </a:xfrm>
        </p:grpSpPr>
        <p:pic>
          <p:nvPicPr>
            <p:cNvPr id="4" name="Graphic 3">
              <a:extLst>
                <a:ext uri="{FF2B5EF4-FFF2-40B4-BE49-F238E27FC236}">
                  <a16:creationId xmlns:a16="http://schemas.microsoft.com/office/drawing/2014/main" id="{4ECC20C5-AC41-41A4-BB51-4DDDC4C20631}"/>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b="23600"/>
            <a:stretch/>
          </p:blipFill>
          <p:spPr>
            <a:xfrm>
              <a:off x="4432036" y="2371910"/>
              <a:ext cx="3327928" cy="3175917"/>
            </a:xfrm>
            <a:prstGeom prst="rect">
              <a:avLst/>
            </a:prstGeom>
          </p:spPr>
        </p:pic>
        <p:pic>
          <p:nvPicPr>
            <p:cNvPr id="5" name="Graphic 4">
              <a:extLst>
                <a:ext uri="{FF2B5EF4-FFF2-40B4-BE49-F238E27FC236}">
                  <a16:creationId xmlns:a16="http://schemas.microsoft.com/office/drawing/2014/main" id="{1DBD61F0-7028-4790-B1B0-F8DE51A07CEA}"/>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b="20048"/>
            <a:stretch/>
          </p:blipFill>
          <p:spPr>
            <a:xfrm>
              <a:off x="5259065" y="1270054"/>
              <a:ext cx="1673870" cy="1672865"/>
            </a:xfrm>
            <a:prstGeom prst="rect">
              <a:avLst/>
            </a:prstGeom>
          </p:spPr>
        </p:pic>
      </p:grpSp>
      <p:pic>
        <p:nvPicPr>
          <p:cNvPr id="33" name="Graphic 32">
            <a:extLst>
              <a:ext uri="{FF2B5EF4-FFF2-40B4-BE49-F238E27FC236}">
                <a16:creationId xmlns:a16="http://schemas.microsoft.com/office/drawing/2014/main" id="{E1BC2A26-81DC-4E9E-BB5D-5DBEBF2D79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81664" y="2670505"/>
            <a:ext cx="449433" cy="561792"/>
          </a:xfrm>
          <a:prstGeom prst="rect">
            <a:avLst/>
          </a:prstGeom>
        </p:spPr>
      </p:pic>
      <p:grpSp>
        <p:nvGrpSpPr>
          <p:cNvPr id="43" name="Group 42">
            <a:extLst>
              <a:ext uri="{FF2B5EF4-FFF2-40B4-BE49-F238E27FC236}">
                <a16:creationId xmlns:a16="http://schemas.microsoft.com/office/drawing/2014/main" id="{0B642C5B-86BD-40A1-AD48-041624B25CFF}"/>
              </a:ext>
            </a:extLst>
          </p:cNvPr>
          <p:cNvGrpSpPr/>
          <p:nvPr/>
        </p:nvGrpSpPr>
        <p:grpSpPr>
          <a:xfrm>
            <a:off x="1235183" y="3333604"/>
            <a:ext cx="3451374" cy="1361460"/>
            <a:chOff x="1235183" y="3333604"/>
            <a:chExt cx="3451374" cy="1361460"/>
          </a:xfrm>
        </p:grpSpPr>
        <p:pic>
          <p:nvPicPr>
            <p:cNvPr id="44" name="Graphic 43">
              <a:extLst>
                <a:ext uri="{FF2B5EF4-FFF2-40B4-BE49-F238E27FC236}">
                  <a16:creationId xmlns:a16="http://schemas.microsoft.com/office/drawing/2014/main" id="{85E665F0-42DC-43C4-82CA-991BEB38BD9D}"/>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l="2472" t="13101" r="28" b="36217"/>
            <a:stretch/>
          </p:blipFill>
          <p:spPr>
            <a:xfrm rot="14205273" flipH="1">
              <a:off x="2934079" y="3857570"/>
              <a:ext cx="1071562" cy="603425"/>
            </a:xfrm>
            <a:prstGeom prst="rect">
              <a:avLst/>
            </a:prstGeom>
          </p:spPr>
        </p:pic>
        <p:sp>
          <p:nvSpPr>
            <p:cNvPr id="45" name="TextBox 44">
              <a:extLst>
                <a:ext uri="{FF2B5EF4-FFF2-40B4-BE49-F238E27FC236}">
                  <a16:creationId xmlns:a16="http://schemas.microsoft.com/office/drawing/2014/main" id="{C3522D5F-877C-4818-9E0C-9B592D10DFDB}"/>
                </a:ext>
              </a:extLst>
            </p:cNvPr>
            <p:cNvSpPr txBox="1"/>
            <p:nvPr/>
          </p:nvSpPr>
          <p:spPr>
            <a:xfrm rot="21264721">
              <a:off x="1235183" y="3333604"/>
              <a:ext cx="3451374" cy="523220"/>
            </a:xfrm>
            <a:prstGeom prst="rect">
              <a:avLst/>
            </a:prstGeom>
            <a:noFill/>
          </p:spPr>
          <p:txBody>
            <a:bodyPr wrap="square" rtlCol="0">
              <a:spAutoFit/>
            </a:bodyPr>
            <a:lstStyle/>
            <a:p>
              <a:pPr algn="ctr"/>
              <a:r>
                <a:rPr lang="en-US" sz="2800" dirty="0">
                  <a:solidFill>
                    <a:schemeClr val="bg1"/>
                  </a:solidFill>
                  <a:latin typeface="Quicksand Bold" pitchFamily="50" charset="0"/>
                </a:rPr>
                <a:t>ELBO</a:t>
              </a:r>
              <a:endParaRPr lang="en-SG" sz="2800" dirty="0">
                <a:solidFill>
                  <a:schemeClr val="bg1"/>
                </a:solidFill>
                <a:latin typeface="Quicksand Bold" pitchFamily="50" charset="0"/>
              </a:endParaRPr>
            </a:p>
          </p:txBody>
        </p:sp>
      </p:grpSp>
      <p:grpSp>
        <p:nvGrpSpPr>
          <p:cNvPr id="17" name="Group 16">
            <a:extLst>
              <a:ext uri="{FF2B5EF4-FFF2-40B4-BE49-F238E27FC236}">
                <a16:creationId xmlns:a16="http://schemas.microsoft.com/office/drawing/2014/main" id="{65C150E3-5BED-4657-AA42-1DF97ADCE7C0}"/>
              </a:ext>
            </a:extLst>
          </p:cNvPr>
          <p:cNvGrpSpPr/>
          <p:nvPr/>
        </p:nvGrpSpPr>
        <p:grpSpPr>
          <a:xfrm>
            <a:off x="2207318" y="-627321"/>
            <a:ext cx="1438193" cy="2498650"/>
            <a:chOff x="2207318" y="-627321"/>
            <a:chExt cx="1438193" cy="2498650"/>
          </a:xfrm>
        </p:grpSpPr>
        <p:sp>
          <p:nvSpPr>
            <p:cNvPr id="24" name="Oval 23">
              <a:extLst>
                <a:ext uri="{FF2B5EF4-FFF2-40B4-BE49-F238E27FC236}">
                  <a16:creationId xmlns:a16="http://schemas.microsoft.com/office/drawing/2014/main" id="{679877A8-04FE-4558-85C0-4504A21176B1}"/>
                </a:ext>
              </a:extLst>
            </p:cNvPr>
            <p:cNvSpPr/>
            <p:nvPr/>
          </p:nvSpPr>
          <p:spPr>
            <a:xfrm>
              <a:off x="2207318" y="433136"/>
              <a:ext cx="1438193" cy="1438193"/>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nvGrpSpPr>
            <p:cNvPr id="25" name="Group 24">
              <a:extLst>
                <a:ext uri="{FF2B5EF4-FFF2-40B4-BE49-F238E27FC236}">
                  <a16:creationId xmlns:a16="http://schemas.microsoft.com/office/drawing/2014/main" id="{57B836B8-2137-4B4C-A171-5437BADDFDF9}"/>
                </a:ext>
              </a:extLst>
            </p:cNvPr>
            <p:cNvGrpSpPr/>
            <p:nvPr/>
          </p:nvGrpSpPr>
          <p:grpSpPr>
            <a:xfrm>
              <a:off x="2912014" y="621590"/>
              <a:ext cx="4897" cy="1068492"/>
              <a:chOff x="6292898" y="621590"/>
              <a:chExt cx="4897" cy="1068492"/>
            </a:xfrm>
          </p:grpSpPr>
          <p:cxnSp>
            <p:nvCxnSpPr>
              <p:cNvPr id="28" name="Straight Connector 27">
                <a:extLst>
                  <a:ext uri="{FF2B5EF4-FFF2-40B4-BE49-F238E27FC236}">
                    <a16:creationId xmlns:a16="http://schemas.microsoft.com/office/drawing/2014/main" id="{D658CA42-0E2A-4118-BE81-681781D3F062}"/>
                  </a:ext>
                </a:extLst>
              </p:cNvPr>
              <p:cNvCxnSpPr/>
              <p:nvPr/>
            </p:nvCxnSpPr>
            <p:spPr>
              <a:xfrm>
                <a:off x="6292898" y="1141599"/>
                <a:ext cx="0" cy="548483"/>
              </a:xfrm>
              <a:prstGeom prst="line">
                <a:avLst/>
              </a:prstGeom>
              <a:ln/>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85949873-187F-410B-A47D-9E487D12EB28}"/>
                  </a:ext>
                </a:extLst>
              </p:cNvPr>
              <p:cNvCxnSpPr/>
              <p:nvPr/>
            </p:nvCxnSpPr>
            <p:spPr>
              <a:xfrm>
                <a:off x="6297795" y="621590"/>
                <a:ext cx="0" cy="54848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26" name="Straight Connector 25">
              <a:extLst>
                <a:ext uri="{FF2B5EF4-FFF2-40B4-BE49-F238E27FC236}">
                  <a16:creationId xmlns:a16="http://schemas.microsoft.com/office/drawing/2014/main" id="{CA52013C-C042-4EF0-9FBE-50D75CE9CCBE}"/>
                </a:ext>
              </a:extLst>
            </p:cNvPr>
            <p:cNvCxnSpPr>
              <a:cxnSpLocks/>
            </p:cNvCxnSpPr>
            <p:nvPr/>
          </p:nvCxnSpPr>
          <p:spPr>
            <a:xfrm>
              <a:off x="2906278" y="1162865"/>
              <a:ext cx="467495" cy="30927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453C9DC-C39D-44F7-8619-D15D4437F1BC}"/>
                </a:ext>
              </a:extLst>
            </p:cNvPr>
            <p:cNvCxnSpPr>
              <a:cxnSpLocks/>
              <a:stCxn id="24" idx="0"/>
            </p:cNvCxnSpPr>
            <p:nvPr/>
          </p:nvCxnSpPr>
          <p:spPr>
            <a:xfrm flipV="1">
              <a:off x="2926415" y="-627321"/>
              <a:ext cx="0" cy="106045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232264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1" accel="60000" fill="hold" nodeType="withEffect">
                                  <p:stCondLst>
                                    <p:cond delay="0"/>
                                  </p:stCondLst>
                                  <p:childTnLst>
                                    <p:anim calcmode="lin" valueType="num">
                                      <p:cBhvr additive="base">
                                        <p:cTn id="6" dur="500"/>
                                        <p:tgtEl>
                                          <p:spTgt spid="17"/>
                                        </p:tgtEl>
                                        <p:attrNameLst>
                                          <p:attrName>ppt_x</p:attrName>
                                        </p:attrNameLst>
                                      </p:cBhvr>
                                      <p:tavLst>
                                        <p:tav tm="0">
                                          <p:val>
                                            <p:strVal val="ppt_x"/>
                                          </p:val>
                                        </p:tav>
                                        <p:tav tm="100000">
                                          <p:val>
                                            <p:strVal val="ppt_x"/>
                                          </p:val>
                                        </p:tav>
                                      </p:tavLst>
                                    </p:anim>
                                    <p:anim calcmode="lin" valueType="num">
                                      <p:cBhvr additive="base">
                                        <p:cTn id="7" dur="500"/>
                                        <p:tgtEl>
                                          <p:spTgt spid="17"/>
                                        </p:tgtEl>
                                        <p:attrNameLst>
                                          <p:attrName>ppt_y</p:attrName>
                                        </p:attrNameLst>
                                      </p:cBhvr>
                                      <p:tavLst>
                                        <p:tav tm="0">
                                          <p:val>
                                            <p:strVal val="ppt_y"/>
                                          </p:val>
                                        </p:tav>
                                        <p:tav tm="100000">
                                          <p:val>
                                            <p:strVal val="0-ppt_h/2"/>
                                          </p:val>
                                        </p:tav>
                                      </p:tavLst>
                                    </p:anim>
                                    <p:set>
                                      <p:cBhvr>
                                        <p:cTn id="8" dur="1" fill="hold">
                                          <p:stCondLst>
                                            <p:cond delay="499"/>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A8E43C8-1286-405A-B41F-5DCA366C30E4}"/>
              </a:ext>
            </a:extLst>
          </p:cNvPr>
          <p:cNvGrpSpPr/>
          <p:nvPr/>
        </p:nvGrpSpPr>
        <p:grpSpPr>
          <a:xfrm>
            <a:off x="5836822" y="1889116"/>
            <a:ext cx="1824405" cy="1844296"/>
            <a:chOff x="8784532" y="3105589"/>
            <a:chExt cx="2060688" cy="2083155"/>
          </a:xfrm>
        </p:grpSpPr>
        <p:sp>
          <p:nvSpPr>
            <p:cNvPr id="8" name="Rectangle: Rounded Corners 7">
              <a:extLst>
                <a:ext uri="{FF2B5EF4-FFF2-40B4-BE49-F238E27FC236}">
                  <a16:creationId xmlns:a16="http://schemas.microsoft.com/office/drawing/2014/main" id="{50500E91-562C-471A-AB1A-AC52030E1490}"/>
                </a:ext>
              </a:extLst>
            </p:cNvPr>
            <p:cNvSpPr/>
            <p:nvPr/>
          </p:nvSpPr>
          <p:spPr>
            <a:xfrm>
              <a:off x="9058963" y="3932385"/>
              <a:ext cx="1511826" cy="465883"/>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pic>
          <p:nvPicPr>
            <p:cNvPr id="9" name="Graphic 8">
              <a:extLst>
                <a:ext uri="{FF2B5EF4-FFF2-40B4-BE49-F238E27FC236}">
                  <a16:creationId xmlns:a16="http://schemas.microsoft.com/office/drawing/2014/main" id="{AE44E18C-F26B-4FB8-811A-0ADA47EF9033}"/>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b="19128"/>
            <a:stretch/>
          </p:blipFill>
          <p:spPr>
            <a:xfrm>
              <a:off x="8784532" y="3105589"/>
              <a:ext cx="2060688" cy="2083155"/>
            </a:xfrm>
            <a:prstGeom prst="rect">
              <a:avLst/>
            </a:prstGeom>
          </p:spPr>
        </p:pic>
        <p:pic>
          <p:nvPicPr>
            <p:cNvPr id="10" name="Graphic 9">
              <a:extLst>
                <a:ext uri="{FF2B5EF4-FFF2-40B4-BE49-F238E27FC236}">
                  <a16:creationId xmlns:a16="http://schemas.microsoft.com/office/drawing/2014/main" id="{2DB15EB5-ECBC-4634-829C-85657DF7270C}"/>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097905" y="3946861"/>
              <a:ext cx="146980" cy="150110"/>
            </a:xfrm>
            <a:prstGeom prst="rect">
              <a:avLst/>
            </a:prstGeom>
          </p:spPr>
        </p:pic>
        <p:pic>
          <p:nvPicPr>
            <p:cNvPr id="11" name="Graphic 10">
              <a:extLst>
                <a:ext uri="{FF2B5EF4-FFF2-40B4-BE49-F238E27FC236}">
                  <a16:creationId xmlns:a16="http://schemas.microsoft.com/office/drawing/2014/main" id="{DCDB059F-FF59-407C-9114-9F2923926EEC}"/>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098523" y="4073347"/>
              <a:ext cx="146980" cy="150110"/>
            </a:xfrm>
            <a:prstGeom prst="rect">
              <a:avLst/>
            </a:prstGeom>
          </p:spPr>
        </p:pic>
        <p:pic>
          <p:nvPicPr>
            <p:cNvPr id="12" name="Graphic 11">
              <a:extLst>
                <a:ext uri="{FF2B5EF4-FFF2-40B4-BE49-F238E27FC236}">
                  <a16:creationId xmlns:a16="http://schemas.microsoft.com/office/drawing/2014/main" id="{95DC7C76-D98F-463E-8FD2-6E3C00925876}"/>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101607" y="4215471"/>
              <a:ext cx="148564" cy="139585"/>
            </a:xfrm>
            <a:prstGeom prst="rect">
              <a:avLst/>
            </a:prstGeom>
          </p:spPr>
        </p:pic>
        <p:pic>
          <p:nvPicPr>
            <p:cNvPr id="13" name="Graphic 12">
              <a:extLst>
                <a:ext uri="{FF2B5EF4-FFF2-40B4-BE49-F238E27FC236}">
                  <a16:creationId xmlns:a16="http://schemas.microsoft.com/office/drawing/2014/main" id="{EACD2528-078E-41E0-BC2C-D8C799E70960}"/>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315264" y="4078290"/>
              <a:ext cx="146980" cy="150110"/>
            </a:xfrm>
            <a:prstGeom prst="rect">
              <a:avLst/>
            </a:prstGeom>
          </p:spPr>
        </p:pic>
        <p:pic>
          <p:nvPicPr>
            <p:cNvPr id="14" name="Graphic 13">
              <a:extLst>
                <a:ext uri="{FF2B5EF4-FFF2-40B4-BE49-F238E27FC236}">
                  <a16:creationId xmlns:a16="http://schemas.microsoft.com/office/drawing/2014/main" id="{193D1FC0-BF3C-47AD-BA08-ADDECCA9E971}"/>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315882" y="4204776"/>
              <a:ext cx="146980" cy="150110"/>
            </a:xfrm>
            <a:prstGeom prst="rect">
              <a:avLst/>
            </a:prstGeom>
          </p:spPr>
        </p:pic>
        <p:pic>
          <p:nvPicPr>
            <p:cNvPr id="15" name="Graphic 14">
              <a:extLst>
                <a:ext uri="{FF2B5EF4-FFF2-40B4-BE49-F238E27FC236}">
                  <a16:creationId xmlns:a16="http://schemas.microsoft.com/office/drawing/2014/main" id="{DEF5B8B9-BDC4-4F4F-8FD9-2E5F0A2186DA}"/>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317712" y="3953555"/>
              <a:ext cx="148564" cy="139585"/>
            </a:xfrm>
            <a:prstGeom prst="rect">
              <a:avLst/>
            </a:prstGeom>
          </p:spPr>
        </p:pic>
        <p:pic>
          <p:nvPicPr>
            <p:cNvPr id="16" name="Graphic 15">
              <a:extLst>
                <a:ext uri="{FF2B5EF4-FFF2-40B4-BE49-F238E27FC236}">
                  <a16:creationId xmlns:a16="http://schemas.microsoft.com/office/drawing/2014/main" id="{C61F29E1-F894-4C83-A438-7AEFB91105C3}"/>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156865" y="4204776"/>
              <a:ext cx="146980" cy="150110"/>
            </a:xfrm>
            <a:prstGeom prst="rect">
              <a:avLst/>
            </a:prstGeom>
          </p:spPr>
        </p:pic>
        <p:pic>
          <p:nvPicPr>
            <p:cNvPr id="17" name="Graphic 16">
              <a:extLst>
                <a:ext uri="{FF2B5EF4-FFF2-40B4-BE49-F238E27FC236}">
                  <a16:creationId xmlns:a16="http://schemas.microsoft.com/office/drawing/2014/main" id="{57196BD0-5BD5-47DD-B5A6-AB38948516CB}"/>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161428" y="3946861"/>
              <a:ext cx="146980" cy="150110"/>
            </a:xfrm>
            <a:prstGeom prst="rect">
              <a:avLst/>
            </a:prstGeom>
          </p:spPr>
        </p:pic>
        <p:pic>
          <p:nvPicPr>
            <p:cNvPr id="18" name="Graphic 17">
              <a:extLst>
                <a:ext uri="{FF2B5EF4-FFF2-40B4-BE49-F238E27FC236}">
                  <a16:creationId xmlns:a16="http://schemas.microsoft.com/office/drawing/2014/main" id="{46AF15F9-4D57-437C-B6E0-2AEF45014749}"/>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10159313" y="4083872"/>
              <a:ext cx="148564" cy="139585"/>
            </a:xfrm>
            <a:prstGeom prst="rect">
              <a:avLst/>
            </a:prstGeom>
          </p:spPr>
        </p:pic>
        <p:pic>
          <p:nvPicPr>
            <p:cNvPr id="19" name="Graphic 18">
              <a:extLst>
                <a:ext uri="{FF2B5EF4-FFF2-40B4-BE49-F238E27FC236}">
                  <a16:creationId xmlns:a16="http://schemas.microsoft.com/office/drawing/2014/main" id="{B1C1B2E8-30F5-4998-8191-823FF01241D2}"/>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376111" y="4080751"/>
              <a:ext cx="146980" cy="150110"/>
            </a:xfrm>
            <a:prstGeom prst="rect">
              <a:avLst/>
            </a:prstGeom>
          </p:spPr>
        </p:pic>
        <p:pic>
          <p:nvPicPr>
            <p:cNvPr id="20" name="Graphic 19">
              <a:extLst>
                <a:ext uri="{FF2B5EF4-FFF2-40B4-BE49-F238E27FC236}">
                  <a16:creationId xmlns:a16="http://schemas.microsoft.com/office/drawing/2014/main" id="{A9AF5C8A-DD60-462A-92FB-B49116CE079E}"/>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376729" y="4207237"/>
              <a:ext cx="146980" cy="150110"/>
            </a:xfrm>
            <a:prstGeom prst="rect">
              <a:avLst/>
            </a:prstGeom>
          </p:spPr>
        </p:pic>
        <p:pic>
          <p:nvPicPr>
            <p:cNvPr id="21" name="Graphic 20">
              <a:extLst>
                <a:ext uri="{FF2B5EF4-FFF2-40B4-BE49-F238E27FC236}">
                  <a16:creationId xmlns:a16="http://schemas.microsoft.com/office/drawing/2014/main" id="{454B0197-27C6-49A4-BAF0-DF1628E7A5D1}"/>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10378559" y="3956016"/>
              <a:ext cx="148564" cy="139585"/>
            </a:xfrm>
            <a:prstGeom prst="rect">
              <a:avLst/>
            </a:prstGeom>
          </p:spPr>
        </p:pic>
        <p:pic>
          <p:nvPicPr>
            <p:cNvPr id="22" name="Graphic 21">
              <a:extLst>
                <a:ext uri="{FF2B5EF4-FFF2-40B4-BE49-F238E27FC236}">
                  <a16:creationId xmlns:a16="http://schemas.microsoft.com/office/drawing/2014/main" id="{0D08105B-24D6-488A-A55D-37C6EC83728B}"/>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945731" y="3950563"/>
              <a:ext cx="148564" cy="139585"/>
            </a:xfrm>
            <a:prstGeom prst="rect">
              <a:avLst/>
            </a:prstGeom>
          </p:spPr>
        </p:pic>
        <p:pic>
          <p:nvPicPr>
            <p:cNvPr id="23" name="Graphic 22">
              <a:extLst>
                <a:ext uri="{FF2B5EF4-FFF2-40B4-BE49-F238E27FC236}">
                  <a16:creationId xmlns:a16="http://schemas.microsoft.com/office/drawing/2014/main" id="{4F04742C-12F9-4A36-AC8E-AEE4F85D3CD9}"/>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945731" y="4082891"/>
              <a:ext cx="148564" cy="139585"/>
            </a:xfrm>
            <a:prstGeom prst="rect">
              <a:avLst/>
            </a:prstGeom>
          </p:spPr>
        </p:pic>
        <p:pic>
          <p:nvPicPr>
            <p:cNvPr id="24" name="Graphic 23">
              <a:extLst>
                <a:ext uri="{FF2B5EF4-FFF2-40B4-BE49-F238E27FC236}">
                  <a16:creationId xmlns:a16="http://schemas.microsoft.com/office/drawing/2014/main" id="{2CE148EB-E5A9-421A-B5A4-782F8BE5BD26}"/>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951806" y="4212173"/>
              <a:ext cx="146980" cy="150110"/>
            </a:xfrm>
            <a:prstGeom prst="rect">
              <a:avLst/>
            </a:prstGeom>
          </p:spPr>
        </p:pic>
        <p:pic>
          <p:nvPicPr>
            <p:cNvPr id="25" name="Graphic 24">
              <a:extLst>
                <a:ext uri="{FF2B5EF4-FFF2-40B4-BE49-F238E27FC236}">
                  <a16:creationId xmlns:a16="http://schemas.microsoft.com/office/drawing/2014/main" id="{8726EB06-984A-4C9C-A6EC-A72BCB537867}"/>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731890" y="4217435"/>
              <a:ext cx="148564" cy="139585"/>
            </a:xfrm>
            <a:prstGeom prst="rect">
              <a:avLst/>
            </a:prstGeom>
          </p:spPr>
        </p:pic>
        <p:pic>
          <p:nvPicPr>
            <p:cNvPr id="26" name="Graphic 25">
              <a:extLst>
                <a:ext uri="{FF2B5EF4-FFF2-40B4-BE49-F238E27FC236}">
                  <a16:creationId xmlns:a16="http://schemas.microsoft.com/office/drawing/2014/main" id="{2DA83B14-D8D1-443D-8A33-54781BF220F1}"/>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737686" y="3950194"/>
              <a:ext cx="148564" cy="139585"/>
            </a:xfrm>
            <a:prstGeom prst="rect">
              <a:avLst/>
            </a:prstGeom>
          </p:spPr>
        </p:pic>
        <p:pic>
          <p:nvPicPr>
            <p:cNvPr id="27" name="Graphic 26">
              <a:extLst>
                <a:ext uri="{FF2B5EF4-FFF2-40B4-BE49-F238E27FC236}">
                  <a16:creationId xmlns:a16="http://schemas.microsoft.com/office/drawing/2014/main" id="{A72128E0-1E71-40FE-85D0-3015FF025C0A}"/>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737666" y="4078556"/>
              <a:ext cx="146980" cy="150110"/>
            </a:xfrm>
            <a:prstGeom prst="rect">
              <a:avLst/>
            </a:prstGeom>
          </p:spPr>
        </p:pic>
        <p:pic>
          <p:nvPicPr>
            <p:cNvPr id="28" name="Graphic 27">
              <a:extLst>
                <a:ext uri="{FF2B5EF4-FFF2-40B4-BE49-F238E27FC236}">
                  <a16:creationId xmlns:a16="http://schemas.microsoft.com/office/drawing/2014/main" id="{AC1A09B0-FD08-4595-934D-B3A7DA413652}"/>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519304" y="4217169"/>
              <a:ext cx="148564" cy="139585"/>
            </a:xfrm>
            <a:prstGeom prst="rect">
              <a:avLst/>
            </a:prstGeom>
          </p:spPr>
        </p:pic>
        <p:pic>
          <p:nvPicPr>
            <p:cNvPr id="29" name="Graphic 28">
              <a:extLst>
                <a:ext uri="{FF2B5EF4-FFF2-40B4-BE49-F238E27FC236}">
                  <a16:creationId xmlns:a16="http://schemas.microsoft.com/office/drawing/2014/main" id="{0B77EAFD-0D88-47CE-B88A-F0150C007994}"/>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525100" y="3949928"/>
              <a:ext cx="148564" cy="139585"/>
            </a:xfrm>
            <a:prstGeom prst="rect">
              <a:avLst/>
            </a:prstGeom>
          </p:spPr>
        </p:pic>
        <p:pic>
          <p:nvPicPr>
            <p:cNvPr id="30" name="Graphic 29">
              <a:extLst>
                <a:ext uri="{FF2B5EF4-FFF2-40B4-BE49-F238E27FC236}">
                  <a16:creationId xmlns:a16="http://schemas.microsoft.com/office/drawing/2014/main" id="{A9A52A79-6178-427A-A0BB-E7937B78825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525080" y="4078290"/>
              <a:ext cx="146980" cy="150110"/>
            </a:xfrm>
            <a:prstGeom prst="rect">
              <a:avLst/>
            </a:prstGeom>
          </p:spPr>
        </p:pic>
      </p:grpSp>
      <p:sp>
        <p:nvSpPr>
          <p:cNvPr id="2" name="Rectangle 1">
            <a:extLst>
              <a:ext uri="{FF2B5EF4-FFF2-40B4-BE49-F238E27FC236}">
                <a16:creationId xmlns:a16="http://schemas.microsoft.com/office/drawing/2014/main" id="{A3308384-DA3A-4377-8DD3-43CE90BECF23}"/>
              </a:ext>
            </a:extLst>
          </p:cNvPr>
          <p:cNvSpPr/>
          <p:nvPr/>
        </p:nvSpPr>
        <p:spPr>
          <a:xfrm>
            <a:off x="2404997" y="0"/>
            <a:ext cx="5523978" cy="658869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dirty="0"/>
          </a:p>
        </p:txBody>
      </p:sp>
      <p:pic>
        <p:nvPicPr>
          <p:cNvPr id="6" name="Picture 2" descr="May be an image of text that says '3lAgytech Simplifying Engineering'">
            <a:extLst>
              <a:ext uri="{FF2B5EF4-FFF2-40B4-BE49-F238E27FC236}">
                <a16:creationId xmlns:a16="http://schemas.microsoft.com/office/drawing/2014/main" id="{EA11242B-33A5-4485-BB9E-F75166952C6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Group 30">
            <a:extLst>
              <a:ext uri="{FF2B5EF4-FFF2-40B4-BE49-F238E27FC236}">
                <a16:creationId xmlns:a16="http://schemas.microsoft.com/office/drawing/2014/main" id="{895B7672-33D1-4EA5-ABDE-6F5AAE577039}"/>
              </a:ext>
            </a:extLst>
          </p:cNvPr>
          <p:cNvGrpSpPr/>
          <p:nvPr/>
        </p:nvGrpSpPr>
        <p:grpSpPr>
          <a:xfrm>
            <a:off x="3890330" y="593796"/>
            <a:ext cx="4411339" cy="5670407"/>
            <a:chOff x="4432036" y="1270054"/>
            <a:chExt cx="3327928" cy="4277773"/>
          </a:xfrm>
        </p:grpSpPr>
        <p:pic>
          <p:nvPicPr>
            <p:cNvPr id="4" name="Graphic 3">
              <a:extLst>
                <a:ext uri="{FF2B5EF4-FFF2-40B4-BE49-F238E27FC236}">
                  <a16:creationId xmlns:a16="http://schemas.microsoft.com/office/drawing/2014/main" id="{4ECC20C5-AC41-41A4-BB51-4DDDC4C20631}"/>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23600"/>
            <a:stretch/>
          </p:blipFill>
          <p:spPr>
            <a:xfrm>
              <a:off x="4432036" y="2371910"/>
              <a:ext cx="3327928" cy="3175917"/>
            </a:xfrm>
            <a:prstGeom prst="rect">
              <a:avLst/>
            </a:prstGeom>
          </p:spPr>
        </p:pic>
        <p:pic>
          <p:nvPicPr>
            <p:cNvPr id="5" name="Graphic 4">
              <a:extLst>
                <a:ext uri="{FF2B5EF4-FFF2-40B4-BE49-F238E27FC236}">
                  <a16:creationId xmlns:a16="http://schemas.microsoft.com/office/drawing/2014/main" id="{1DBD61F0-7028-4790-B1B0-F8DE51A07CEA}"/>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20048"/>
            <a:stretch/>
          </p:blipFill>
          <p:spPr>
            <a:xfrm>
              <a:off x="5259065" y="1270054"/>
              <a:ext cx="1673870" cy="1672865"/>
            </a:xfrm>
            <a:prstGeom prst="rect">
              <a:avLst/>
            </a:prstGeom>
          </p:spPr>
        </p:pic>
      </p:grpSp>
      <p:pic>
        <p:nvPicPr>
          <p:cNvPr id="33" name="Graphic 32">
            <a:extLst>
              <a:ext uri="{FF2B5EF4-FFF2-40B4-BE49-F238E27FC236}">
                <a16:creationId xmlns:a16="http://schemas.microsoft.com/office/drawing/2014/main" id="{E1BC2A26-81DC-4E9E-BB5D-5DBEBF2D791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081664" y="2670505"/>
            <a:ext cx="449433" cy="561792"/>
          </a:xfrm>
          <a:prstGeom prst="rect">
            <a:avLst/>
          </a:prstGeom>
        </p:spPr>
      </p:pic>
      <p:pic>
        <p:nvPicPr>
          <p:cNvPr id="35" name="Graphic 34">
            <a:extLst>
              <a:ext uri="{FF2B5EF4-FFF2-40B4-BE49-F238E27FC236}">
                <a16:creationId xmlns:a16="http://schemas.microsoft.com/office/drawing/2014/main" id="{E662C6F4-CD2F-4496-8927-99705AE28A6A}"/>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20237"/>
          <a:stretch/>
        </p:blipFill>
        <p:spPr>
          <a:xfrm>
            <a:off x="5694876" y="1146557"/>
            <a:ext cx="802245" cy="799863"/>
          </a:xfrm>
          <a:prstGeom prst="rect">
            <a:avLst/>
          </a:prstGeom>
        </p:spPr>
      </p:pic>
      <p:pic>
        <p:nvPicPr>
          <p:cNvPr id="39" name="Graphic 38">
            <a:extLst>
              <a:ext uri="{FF2B5EF4-FFF2-40B4-BE49-F238E27FC236}">
                <a16:creationId xmlns:a16="http://schemas.microsoft.com/office/drawing/2014/main" id="{04353218-F36C-4D55-8252-FFB49AF5181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073231" y="2655048"/>
            <a:ext cx="437870" cy="547338"/>
          </a:xfrm>
          <a:prstGeom prst="rect">
            <a:avLst/>
          </a:prstGeom>
        </p:spPr>
      </p:pic>
      <p:grpSp>
        <p:nvGrpSpPr>
          <p:cNvPr id="43" name="Group 42">
            <a:extLst>
              <a:ext uri="{FF2B5EF4-FFF2-40B4-BE49-F238E27FC236}">
                <a16:creationId xmlns:a16="http://schemas.microsoft.com/office/drawing/2014/main" id="{0B642C5B-86BD-40A1-AD48-041624B25CFF}"/>
              </a:ext>
            </a:extLst>
          </p:cNvPr>
          <p:cNvGrpSpPr/>
          <p:nvPr/>
        </p:nvGrpSpPr>
        <p:grpSpPr>
          <a:xfrm>
            <a:off x="1235183" y="3333604"/>
            <a:ext cx="3451374" cy="1361460"/>
            <a:chOff x="1235183" y="3333604"/>
            <a:chExt cx="3451374" cy="1361460"/>
          </a:xfrm>
        </p:grpSpPr>
        <p:pic>
          <p:nvPicPr>
            <p:cNvPr id="44" name="Graphic 43">
              <a:extLst>
                <a:ext uri="{FF2B5EF4-FFF2-40B4-BE49-F238E27FC236}">
                  <a16:creationId xmlns:a16="http://schemas.microsoft.com/office/drawing/2014/main" id="{85E665F0-42DC-43C4-82CA-991BEB38BD9D}"/>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l="2472" t="13101" r="28" b="36217"/>
            <a:stretch/>
          </p:blipFill>
          <p:spPr>
            <a:xfrm rot="14205273" flipH="1">
              <a:off x="2934079" y="3857570"/>
              <a:ext cx="1071562" cy="603425"/>
            </a:xfrm>
            <a:prstGeom prst="rect">
              <a:avLst/>
            </a:prstGeom>
          </p:spPr>
        </p:pic>
        <p:sp>
          <p:nvSpPr>
            <p:cNvPr id="45" name="TextBox 44">
              <a:extLst>
                <a:ext uri="{FF2B5EF4-FFF2-40B4-BE49-F238E27FC236}">
                  <a16:creationId xmlns:a16="http://schemas.microsoft.com/office/drawing/2014/main" id="{C3522D5F-877C-4818-9E0C-9B592D10DFDB}"/>
                </a:ext>
              </a:extLst>
            </p:cNvPr>
            <p:cNvSpPr txBox="1"/>
            <p:nvPr/>
          </p:nvSpPr>
          <p:spPr>
            <a:xfrm rot="21264721">
              <a:off x="1235183" y="3333604"/>
              <a:ext cx="3451374" cy="523220"/>
            </a:xfrm>
            <a:prstGeom prst="rect">
              <a:avLst/>
            </a:prstGeom>
            <a:noFill/>
          </p:spPr>
          <p:txBody>
            <a:bodyPr wrap="square" rtlCol="0">
              <a:spAutoFit/>
            </a:bodyPr>
            <a:lstStyle/>
            <a:p>
              <a:pPr algn="ctr"/>
              <a:r>
                <a:rPr lang="en-US" sz="2800" dirty="0">
                  <a:solidFill>
                    <a:schemeClr val="bg1"/>
                  </a:solidFill>
                  <a:latin typeface="Quicksand Bold" pitchFamily="50" charset="0"/>
                </a:rPr>
                <a:t>ELBO</a:t>
              </a:r>
              <a:endParaRPr lang="en-SG" sz="2800" dirty="0">
                <a:solidFill>
                  <a:schemeClr val="bg1"/>
                </a:solidFill>
                <a:latin typeface="Quicksand Bold" pitchFamily="50" charset="0"/>
              </a:endParaRPr>
            </a:p>
          </p:txBody>
        </p:sp>
      </p:grpSp>
      <p:pic>
        <p:nvPicPr>
          <p:cNvPr id="51" name="Picture 50">
            <a:extLst>
              <a:ext uri="{FF2B5EF4-FFF2-40B4-BE49-F238E27FC236}">
                <a16:creationId xmlns:a16="http://schemas.microsoft.com/office/drawing/2014/main" id="{F98C40DD-0B7F-41BB-884F-328787D5AA49}"/>
              </a:ext>
            </a:extLst>
          </p:cNvPr>
          <p:cNvPicPr>
            <a:picLocks noChangeAspect="1"/>
          </p:cNvPicPr>
          <p:nvPr/>
        </p:nvPicPr>
        <p:blipFill>
          <a:blip r:embed="rId22"/>
          <a:stretch>
            <a:fillRect/>
          </a:stretch>
        </p:blipFill>
        <p:spPr>
          <a:xfrm>
            <a:off x="2756701" y="1549077"/>
            <a:ext cx="6845249" cy="3869928"/>
          </a:xfrm>
          <a:prstGeom prst="rect">
            <a:avLst/>
          </a:prstGeom>
        </p:spPr>
      </p:pic>
      <p:pic>
        <p:nvPicPr>
          <p:cNvPr id="46" name="Picture 45">
            <a:extLst>
              <a:ext uri="{FF2B5EF4-FFF2-40B4-BE49-F238E27FC236}">
                <a16:creationId xmlns:a16="http://schemas.microsoft.com/office/drawing/2014/main" id="{D059F3AE-FA27-4C97-979D-9AE82F746743}"/>
              </a:ext>
            </a:extLst>
          </p:cNvPr>
          <p:cNvPicPr>
            <a:picLocks noChangeAspect="1"/>
          </p:cNvPicPr>
          <p:nvPr/>
        </p:nvPicPr>
        <p:blipFill rotWithShape="1">
          <a:blip r:embed="rId22"/>
          <a:srcRect l="78720" t="83569" r="2876" b="818"/>
          <a:stretch/>
        </p:blipFill>
        <p:spPr>
          <a:xfrm>
            <a:off x="8178934" y="4785013"/>
            <a:ext cx="1259758" cy="604175"/>
          </a:xfrm>
          <a:prstGeom prst="rect">
            <a:avLst/>
          </a:prstGeom>
        </p:spPr>
      </p:pic>
    </p:spTree>
    <p:extLst>
      <p:ext uri="{BB962C8B-B14F-4D97-AF65-F5344CB8AC3E}">
        <p14:creationId xmlns:p14="http://schemas.microsoft.com/office/powerpoint/2010/main" val="214594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51"/>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49"/>
                                          </p:stCondLst>
                                        </p:cTn>
                                        <p:tgtEl>
                                          <p:spTgt spid="46"/>
                                        </p:tgtEl>
                                        <p:attrNameLst>
                                          <p:attrName>style.visibility</p:attrName>
                                        </p:attrNameLst>
                                      </p:cBhvr>
                                      <p:to>
                                        <p:strVal val="visible"/>
                                      </p:to>
                                    </p:set>
                                  </p:childTnLst>
                                </p:cTn>
                              </p:par>
                            </p:childTnLst>
                          </p:cTn>
                        </p:par>
                        <p:par>
                          <p:cTn id="16" fill="hold">
                            <p:stCondLst>
                              <p:cond delay="50"/>
                            </p:stCondLst>
                            <p:childTnLst>
                              <p:par>
                                <p:cTn id="17" presetID="1" presetClass="exit" presetSubtype="0" fill="hold" nodeType="afterEffect">
                                  <p:stCondLst>
                                    <p:cond delay="0"/>
                                  </p:stCondLst>
                                  <p:childTnLst>
                                    <p:set>
                                      <p:cBhvr>
                                        <p:cTn id="18" dur="1" fill="hold">
                                          <p:stCondLst>
                                            <p:cond delay="499"/>
                                          </p:stCondLst>
                                        </p:cTn>
                                        <p:tgtEl>
                                          <p:spTgt spid="46"/>
                                        </p:tgtEl>
                                        <p:attrNameLst>
                                          <p:attrName>style.visibility</p:attrName>
                                        </p:attrNameLst>
                                      </p:cBhvr>
                                      <p:to>
                                        <p:strVal val="hidden"/>
                                      </p:to>
                                    </p:set>
                                  </p:childTnLst>
                                </p:cTn>
                              </p:par>
                            </p:childTnLst>
                          </p:cTn>
                        </p:par>
                        <p:par>
                          <p:cTn id="19" fill="hold">
                            <p:stCondLst>
                              <p:cond delay="550"/>
                            </p:stCondLst>
                            <p:childTnLst>
                              <p:par>
                                <p:cTn id="20" presetID="10" presetClass="exit" presetSubtype="0" fill="hold" nodeType="afterEffect">
                                  <p:stCondLst>
                                    <p:cond delay="0"/>
                                  </p:stCondLst>
                                  <p:childTnLst>
                                    <p:animEffect transition="out" filter="fade">
                                      <p:cBhvr>
                                        <p:cTn id="21" dur="1250"/>
                                        <p:tgtEl>
                                          <p:spTgt spid="51"/>
                                        </p:tgtEl>
                                      </p:cBhvr>
                                    </p:animEffect>
                                    <p:set>
                                      <p:cBhvr>
                                        <p:cTn id="22" dur="1" fill="hold">
                                          <p:stCondLst>
                                            <p:cond delay="1249"/>
                                          </p:stCondLst>
                                        </p:cTn>
                                        <p:tgtEl>
                                          <p:spTgt spid="51"/>
                                        </p:tgtEl>
                                        <p:attrNameLst>
                                          <p:attrName>style.visibility</p:attrName>
                                        </p:attrNameLst>
                                      </p:cBhvr>
                                      <p:to>
                                        <p:strVal val="hidden"/>
                                      </p:to>
                                    </p:set>
                                  </p:childTnLst>
                                </p:cTn>
                              </p:par>
                            </p:childTnLst>
                          </p:cTn>
                        </p:par>
                        <p:par>
                          <p:cTn id="23" fill="hold">
                            <p:stCondLst>
                              <p:cond delay="1800"/>
                            </p:stCondLst>
                            <p:childTnLst>
                              <p:par>
                                <p:cTn id="24" presetID="1" presetClass="exit" presetSubtype="0" fill="hold" nodeType="afterEffect">
                                  <p:stCondLst>
                                    <p:cond delay="0"/>
                                  </p:stCondLst>
                                  <p:childTnLst>
                                    <p:set>
                                      <p:cBhvr>
                                        <p:cTn id="25" dur="1" fill="hold">
                                          <p:stCondLst>
                                            <p:cond delay="749"/>
                                          </p:stCondLst>
                                        </p:cTn>
                                        <p:tgtEl>
                                          <p:spTgt spid="33"/>
                                        </p:tgtEl>
                                        <p:attrNameLst>
                                          <p:attrName>style.visibility</p:attrName>
                                        </p:attrNameLst>
                                      </p:cBhvr>
                                      <p:to>
                                        <p:strVal val="hidden"/>
                                      </p:to>
                                    </p:set>
                                  </p:childTnLst>
                                </p:cTn>
                              </p:par>
                              <p:par>
                                <p:cTn id="26" presetID="1" presetClass="entr" presetSubtype="0" fill="hold" nodeType="withEffect">
                                  <p:stCondLst>
                                    <p:cond delay="0"/>
                                  </p:stCondLst>
                                  <p:childTnLst>
                                    <p:set>
                                      <p:cBhvr>
                                        <p:cTn id="27" dur="1" fill="hold">
                                          <p:stCondLst>
                                            <p:cond delay="749"/>
                                          </p:stCondLst>
                                        </p:cTn>
                                        <p:tgtEl>
                                          <p:spTgt spid="39"/>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2" presetClass="exit" presetSubtype="2" accel="60000" decel="40000" fill="hold" nodeType="clickEffect">
                                  <p:stCondLst>
                                    <p:cond delay="0"/>
                                  </p:stCondLst>
                                  <p:childTnLst>
                                    <p:anim calcmode="lin" valueType="num">
                                      <p:cBhvr additive="base">
                                        <p:cTn id="31" dur="1000"/>
                                        <p:tgtEl>
                                          <p:spTgt spid="7"/>
                                        </p:tgtEl>
                                        <p:attrNameLst>
                                          <p:attrName>ppt_x</p:attrName>
                                        </p:attrNameLst>
                                      </p:cBhvr>
                                      <p:tavLst>
                                        <p:tav tm="0">
                                          <p:val>
                                            <p:strVal val="ppt_x"/>
                                          </p:val>
                                        </p:tav>
                                        <p:tav tm="100000">
                                          <p:val>
                                            <p:strVal val="1+ppt_w/2"/>
                                          </p:val>
                                        </p:tav>
                                      </p:tavLst>
                                    </p:anim>
                                    <p:anim calcmode="lin" valueType="num">
                                      <p:cBhvr additive="base">
                                        <p:cTn id="32" dur="1000"/>
                                        <p:tgtEl>
                                          <p:spTgt spid="7"/>
                                        </p:tgtEl>
                                        <p:attrNameLst>
                                          <p:attrName>ppt_y</p:attrName>
                                        </p:attrNameLst>
                                      </p:cBhvr>
                                      <p:tavLst>
                                        <p:tav tm="0">
                                          <p:val>
                                            <p:strVal val="ppt_y"/>
                                          </p:val>
                                        </p:tav>
                                        <p:tav tm="100000">
                                          <p:val>
                                            <p:strVal val="ppt_y"/>
                                          </p:val>
                                        </p:tav>
                                      </p:tavLst>
                                    </p:anim>
                                    <p:set>
                                      <p:cBhvr>
                                        <p:cTn id="33" dur="1" fill="hold">
                                          <p:stCondLst>
                                            <p:cond delay="9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A8E43C8-1286-405A-B41F-5DCA366C30E4}"/>
              </a:ext>
            </a:extLst>
          </p:cNvPr>
          <p:cNvGrpSpPr/>
          <p:nvPr/>
        </p:nvGrpSpPr>
        <p:grpSpPr>
          <a:xfrm>
            <a:off x="6156236" y="1921964"/>
            <a:ext cx="1824405" cy="1844296"/>
            <a:chOff x="8784532" y="3105589"/>
            <a:chExt cx="2060688" cy="2083155"/>
          </a:xfrm>
        </p:grpSpPr>
        <p:sp>
          <p:nvSpPr>
            <p:cNvPr id="8" name="Rectangle: Rounded Corners 7">
              <a:extLst>
                <a:ext uri="{FF2B5EF4-FFF2-40B4-BE49-F238E27FC236}">
                  <a16:creationId xmlns:a16="http://schemas.microsoft.com/office/drawing/2014/main" id="{50500E91-562C-471A-AB1A-AC52030E1490}"/>
                </a:ext>
              </a:extLst>
            </p:cNvPr>
            <p:cNvSpPr/>
            <p:nvPr/>
          </p:nvSpPr>
          <p:spPr>
            <a:xfrm>
              <a:off x="9058963" y="3932385"/>
              <a:ext cx="1511826" cy="465883"/>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pic>
          <p:nvPicPr>
            <p:cNvPr id="9" name="Graphic 8">
              <a:extLst>
                <a:ext uri="{FF2B5EF4-FFF2-40B4-BE49-F238E27FC236}">
                  <a16:creationId xmlns:a16="http://schemas.microsoft.com/office/drawing/2014/main" id="{AE44E18C-F26B-4FB8-811A-0ADA47EF9033}"/>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b="19128"/>
            <a:stretch/>
          </p:blipFill>
          <p:spPr>
            <a:xfrm>
              <a:off x="8784532" y="3105589"/>
              <a:ext cx="2060688" cy="2083155"/>
            </a:xfrm>
            <a:prstGeom prst="rect">
              <a:avLst/>
            </a:prstGeom>
          </p:spPr>
        </p:pic>
        <p:pic>
          <p:nvPicPr>
            <p:cNvPr id="10" name="Graphic 9">
              <a:extLst>
                <a:ext uri="{FF2B5EF4-FFF2-40B4-BE49-F238E27FC236}">
                  <a16:creationId xmlns:a16="http://schemas.microsoft.com/office/drawing/2014/main" id="{2DB15EB5-ECBC-4634-829C-85657DF7270C}"/>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097905" y="3946861"/>
              <a:ext cx="146980" cy="150110"/>
            </a:xfrm>
            <a:prstGeom prst="rect">
              <a:avLst/>
            </a:prstGeom>
          </p:spPr>
        </p:pic>
        <p:pic>
          <p:nvPicPr>
            <p:cNvPr id="11" name="Graphic 10">
              <a:extLst>
                <a:ext uri="{FF2B5EF4-FFF2-40B4-BE49-F238E27FC236}">
                  <a16:creationId xmlns:a16="http://schemas.microsoft.com/office/drawing/2014/main" id="{DCDB059F-FF59-407C-9114-9F2923926EEC}"/>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098523" y="4073347"/>
              <a:ext cx="146980" cy="150110"/>
            </a:xfrm>
            <a:prstGeom prst="rect">
              <a:avLst/>
            </a:prstGeom>
          </p:spPr>
        </p:pic>
        <p:pic>
          <p:nvPicPr>
            <p:cNvPr id="12" name="Graphic 11">
              <a:extLst>
                <a:ext uri="{FF2B5EF4-FFF2-40B4-BE49-F238E27FC236}">
                  <a16:creationId xmlns:a16="http://schemas.microsoft.com/office/drawing/2014/main" id="{95DC7C76-D98F-463E-8FD2-6E3C00925876}"/>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101607" y="4215471"/>
              <a:ext cx="148564" cy="139585"/>
            </a:xfrm>
            <a:prstGeom prst="rect">
              <a:avLst/>
            </a:prstGeom>
          </p:spPr>
        </p:pic>
        <p:pic>
          <p:nvPicPr>
            <p:cNvPr id="13" name="Graphic 12">
              <a:extLst>
                <a:ext uri="{FF2B5EF4-FFF2-40B4-BE49-F238E27FC236}">
                  <a16:creationId xmlns:a16="http://schemas.microsoft.com/office/drawing/2014/main" id="{EACD2528-078E-41E0-BC2C-D8C799E70960}"/>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315264" y="4078290"/>
              <a:ext cx="146980" cy="150110"/>
            </a:xfrm>
            <a:prstGeom prst="rect">
              <a:avLst/>
            </a:prstGeom>
          </p:spPr>
        </p:pic>
        <p:pic>
          <p:nvPicPr>
            <p:cNvPr id="14" name="Graphic 13">
              <a:extLst>
                <a:ext uri="{FF2B5EF4-FFF2-40B4-BE49-F238E27FC236}">
                  <a16:creationId xmlns:a16="http://schemas.microsoft.com/office/drawing/2014/main" id="{193D1FC0-BF3C-47AD-BA08-ADDECCA9E971}"/>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315882" y="4204776"/>
              <a:ext cx="146980" cy="150110"/>
            </a:xfrm>
            <a:prstGeom prst="rect">
              <a:avLst/>
            </a:prstGeom>
          </p:spPr>
        </p:pic>
        <p:pic>
          <p:nvPicPr>
            <p:cNvPr id="15" name="Graphic 14">
              <a:extLst>
                <a:ext uri="{FF2B5EF4-FFF2-40B4-BE49-F238E27FC236}">
                  <a16:creationId xmlns:a16="http://schemas.microsoft.com/office/drawing/2014/main" id="{DEF5B8B9-BDC4-4F4F-8FD9-2E5F0A2186DA}"/>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317712" y="3953555"/>
              <a:ext cx="148564" cy="139585"/>
            </a:xfrm>
            <a:prstGeom prst="rect">
              <a:avLst/>
            </a:prstGeom>
          </p:spPr>
        </p:pic>
        <p:pic>
          <p:nvPicPr>
            <p:cNvPr id="16" name="Graphic 15">
              <a:extLst>
                <a:ext uri="{FF2B5EF4-FFF2-40B4-BE49-F238E27FC236}">
                  <a16:creationId xmlns:a16="http://schemas.microsoft.com/office/drawing/2014/main" id="{C61F29E1-F894-4C83-A438-7AEFB91105C3}"/>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156865" y="4204776"/>
              <a:ext cx="146980" cy="150110"/>
            </a:xfrm>
            <a:prstGeom prst="rect">
              <a:avLst/>
            </a:prstGeom>
          </p:spPr>
        </p:pic>
        <p:pic>
          <p:nvPicPr>
            <p:cNvPr id="17" name="Graphic 16">
              <a:extLst>
                <a:ext uri="{FF2B5EF4-FFF2-40B4-BE49-F238E27FC236}">
                  <a16:creationId xmlns:a16="http://schemas.microsoft.com/office/drawing/2014/main" id="{57196BD0-5BD5-47DD-B5A6-AB38948516CB}"/>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161428" y="3946861"/>
              <a:ext cx="146980" cy="150110"/>
            </a:xfrm>
            <a:prstGeom prst="rect">
              <a:avLst/>
            </a:prstGeom>
          </p:spPr>
        </p:pic>
        <p:pic>
          <p:nvPicPr>
            <p:cNvPr id="18" name="Graphic 17">
              <a:extLst>
                <a:ext uri="{FF2B5EF4-FFF2-40B4-BE49-F238E27FC236}">
                  <a16:creationId xmlns:a16="http://schemas.microsoft.com/office/drawing/2014/main" id="{46AF15F9-4D57-437C-B6E0-2AEF45014749}"/>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10159313" y="4083872"/>
              <a:ext cx="148564" cy="139585"/>
            </a:xfrm>
            <a:prstGeom prst="rect">
              <a:avLst/>
            </a:prstGeom>
          </p:spPr>
        </p:pic>
        <p:pic>
          <p:nvPicPr>
            <p:cNvPr id="19" name="Graphic 18">
              <a:extLst>
                <a:ext uri="{FF2B5EF4-FFF2-40B4-BE49-F238E27FC236}">
                  <a16:creationId xmlns:a16="http://schemas.microsoft.com/office/drawing/2014/main" id="{B1C1B2E8-30F5-4998-8191-823FF01241D2}"/>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376111" y="4080751"/>
              <a:ext cx="146980" cy="150110"/>
            </a:xfrm>
            <a:prstGeom prst="rect">
              <a:avLst/>
            </a:prstGeom>
          </p:spPr>
        </p:pic>
        <p:pic>
          <p:nvPicPr>
            <p:cNvPr id="20" name="Graphic 19">
              <a:extLst>
                <a:ext uri="{FF2B5EF4-FFF2-40B4-BE49-F238E27FC236}">
                  <a16:creationId xmlns:a16="http://schemas.microsoft.com/office/drawing/2014/main" id="{A9AF5C8A-DD60-462A-92FB-B49116CE079E}"/>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376729" y="4207237"/>
              <a:ext cx="146980" cy="150110"/>
            </a:xfrm>
            <a:prstGeom prst="rect">
              <a:avLst/>
            </a:prstGeom>
          </p:spPr>
        </p:pic>
        <p:pic>
          <p:nvPicPr>
            <p:cNvPr id="21" name="Graphic 20">
              <a:extLst>
                <a:ext uri="{FF2B5EF4-FFF2-40B4-BE49-F238E27FC236}">
                  <a16:creationId xmlns:a16="http://schemas.microsoft.com/office/drawing/2014/main" id="{454B0197-27C6-49A4-BAF0-DF1628E7A5D1}"/>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10378559" y="3956016"/>
              <a:ext cx="148564" cy="139585"/>
            </a:xfrm>
            <a:prstGeom prst="rect">
              <a:avLst/>
            </a:prstGeom>
          </p:spPr>
        </p:pic>
        <p:pic>
          <p:nvPicPr>
            <p:cNvPr id="22" name="Graphic 21">
              <a:extLst>
                <a:ext uri="{FF2B5EF4-FFF2-40B4-BE49-F238E27FC236}">
                  <a16:creationId xmlns:a16="http://schemas.microsoft.com/office/drawing/2014/main" id="{0D08105B-24D6-488A-A55D-37C6EC83728B}"/>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945731" y="3950563"/>
              <a:ext cx="148564" cy="139585"/>
            </a:xfrm>
            <a:prstGeom prst="rect">
              <a:avLst/>
            </a:prstGeom>
          </p:spPr>
        </p:pic>
        <p:pic>
          <p:nvPicPr>
            <p:cNvPr id="23" name="Graphic 22">
              <a:extLst>
                <a:ext uri="{FF2B5EF4-FFF2-40B4-BE49-F238E27FC236}">
                  <a16:creationId xmlns:a16="http://schemas.microsoft.com/office/drawing/2014/main" id="{4F04742C-12F9-4A36-AC8E-AEE4F85D3CD9}"/>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945731" y="4082891"/>
              <a:ext cx="148564" cy="139585"/>
            </a:xfrm>
            <a:prstGeom prst="rect">
              <a:avLst/>
            </a:prstGeom>
          </p:spPr>
        </p:pic>
        <p:pic>
          <p:nvPicPr>
            <p:cNvPr id="24" name="Graphic 23">
              <a:extLst>
                <a:ext uri="{FF2B5EF4-FFF2-40B4-BE49-F238E27FC236}">
                  <a16:creationId xmlns:a16="http://schemas.microsoft.com/office/drawing/2014/main" id="{2CE148EB-E5A9-421A-B5A4-782F8BE5BD26}"/>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951806" y="4212173"/>
              <a:ext cx="146980" cy="150110"/>
            </a:xfrm>
            <a:prstGeom prst="rect">
              <a:avLst/>
            </a:prstGeom>
          </p:spPr>
        </p:pic>
        <p:pic>
          <p:nvPicPr>
            <p:cNvPr id="25" name="Graphic 24">
              <a:extLst>
                <a:ext uri="{FF2B5EF4-FFF2-40B4-BE49-F238E27FC236}">
                  <a16:creationId xmlns:a16="http://schemas.microsoft.com/office/drawing/2014/main" id="{8726EB06-984A-4C9C-A6EC-A72BCB537867}"/>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731890" y="4217435"/>
              <a:ext cx="148564" cy="139585"/>
            </a:xfrm>
            <a:prstGeom prst="rect">
              <a:avLst/>
            </a:prstGeom>
          </p:spPr>
        </p:pic>
        <p:pic>
          <p:nvPicPr>
            <p:cNvPr id="26" name="Graphic 25">
              <a:extLst>
                <a:ext uri="{FF2B5EF4-FFF2-40B4-BE49-F238E27FC236}">
                  <a16:creationId xmlns:a16="http://schemas.microsoft.com/office/drawing/2014/main" id="{2DA83B14-D8D1-443D-8A33-54781BF220F1}"/>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737686" y="3950194"/>
              <a:ext cx="148564" cy="139585"/>
            </a:xfrm>
            <a:prstGeom prst="rect">
              <a:avLst/>
            </a:prstGeom>
          </p:spPr>
        </p:pic>
        <p:pic>
          <p:nvPicPr>
            <p:cNvPr id="27" name="Graphic 26">
              <a:extLst>
                <a:ext uri="{FF2B5EF4-FFF2-40B4-BE49-F238E27FC236}">
                  <a16:creationId xmlns:a16="http://schemas.microsoft.com/office/drawing/2014/main" id="{A72128E0-1E71-40FE-85D0-3015FF025C0A}"/>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737666" y="4078556"/>
              <a:ext cx="146980" cy="150110"/>
            </a:xfrm>
            <a:prstGeom prst="rect">
              <a:avLst/>
            </a:prstGeom>
          </p:spPr>
        </p:pic>
        <p:pic>
          <p:nvPicPr>
            <p:cNvPr id="28" name="Graphic 27">
              <a:extLst>
                <a:ext uri="{FF2B5EF4-FFF2-40B4-BE49-F238E27FC236}">
                  <a16:creationId xmlns:a16="http://schemas.microsoft.com/office/drawing/2014/main" id="{AC1A09B0-FD08-4595-934D-B3A7DA413652}"/>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519304" y="4217169"/>
              <a:ext cx="148564" cy="139585"/>
            </a:xfrm>
            <a:prstGeom prst="rect">
              <a:avLst/>
            </a:prstGeom>
          </p:spPr>
        </p:pic>
        <p:pic>
          <p:nvPicPr>
            <p:cNvPr id="29" name="Graphic 28">
              <a:extLst>
                <a:ext uri="{FF2B5EF4-FFF2-40B4-BE49-F238E27FC236}">
                  <a16:creationId xmlns:a16="http://schemas.microsoft.com/office/drawing/2014/main" id="{0B77EAFD-0D88-47CE-B88A-F0150C007994}"/>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525100" y="3949928"/>
              <a:ext cx="148564" cy="139585"/>
            </a:xfrm>
            <a:prstGeom prst="rect">
              <a:avLst/>
            </a:prstGeom>
          </p:spPr>
        </p:pic>
        <p:pic>
          <p:nvPicPr>
            <p:cNvPr id="30" name="Graphic 29">
              <a:extLst>
                <a:ext uri="{FF2B5EF4-FFF2-40B4-BE49-F238E27FC236}">
                  <a16:creationId xmlns:a16="http://schemas.microsoft.com/office/drawing/2014/main" id="{A9A52A79-6178-427A-A0BB-E7937B78825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525080" y="4078290"/>
              <a:ext cx="146980" cy="150110"/>
            </a:xfrm>
            <a:prstGeom prst="rect">
              <a:avLst/>
            </a:prstGeom>
          </p:spPr>
        </p:pic>
      </p:grpSp>
      <p:sp>
        <p:nvSpPr>
          <p:cNvPr id="2" name="Rectangle 1">
            <a:extLst>
              <a:ext uri="{FF2B5EF4-FFF2-40B4-BE49-F238E27FC236}">
                <a16:creationId xmlns:a16="http://schemas.microsoft.com/office/drawing/2014/main" id="{A3308384-DA3A-4377-8DD3-43CE90BECF23}"/>
              </a:ext>
            </a:extLst>
          </p:cNvPr>
          <p:cNvSpPr/>
          <p:nvPr/>
        </p:nvSpPr>
        <p:spPr>
          <a:xfrm>
            <a:off x="2404997" y="0"/>
            <a:ext cx="5523978" cy="658869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dirty="0"/>
          </a:p>
        </p:txBody>
      </p:sp>
      <p:pic>
        <p:nvPicPr>
          <p:cNvPr id="6" name="Picture 2" descr="May be an image of text that says '3lAgytech Simplifying Engineering'">
            <a:extLst>
              <a:ext uri="{FF2B5EF4-FFF2-40B4-BE49-F238E27FC236}">
                <a16:creationId xmlns:a16="http://schemas.microsoft.com/office/drawing/2014/main" id="{EA11242B-33A5-4485-BB9E-F75166952C6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Group 30">
            <a:extLst>
              <a:ext uri="{FF2B5EF4-FFF2-40B4-BE49-F238E27FC236}">
                <a16:creationId xmlns:a16="http://schemas.microsoft.com/office/drawing/2014/main" id="{895B7672-33D1-4EA5-ABDE-6F5AAE577039}"/>
              </a:ext>
            </a:extLst>
          </p:cNvPr>
          <p:cNvGrpSpPr/>
          <p:nvPr/>
        </p:nvGrpSpPr>
        <p:grpSpPr>
          <a:xfrm>
            <a:off x="3890330" y="593796"/>
            <a:ext cx="4411339" cy="5670407"/>
            <a:chOff x="4432036" y="1270054"/>
            <a:chExt cx="3327928" cy="4277773"/>
          </a:xfrm>
        </p:grpSpPr>
        <p:pic>
          <p:nvPicPr>
            <p:cNvPr id="4" name="Graphic 3">
              <a:extLst>
                <a:ext uri="{FF2B5EF4-FFF2-40B4-BE49-F238E27FC236}">
                  <a16:creationId xmlns:a16="http://schemas.microsoft.com/office/drawing/2014/main" id="{4ECC20C5-AC41-41A4-BB51-4DDDC4C20631}"/>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23600"/>
            <a:stretch/>
          </p:blipFill>
          <p:spPr>
            <a:xfrm>
              <a:off x="4432036" y="2371910"/>
              <a:ext cx="3327928" cy="3175917"/>
            </a:xfrm>
            <a:prstGeom prst="rect">
              <a:avLst/>
            </a:prstGeom>
          </p:spPr>
        </p:pic>
        <p:pic>
          <p:nvPicPr>
            <p:cNvPr id="5" name="Graphic 4">
              <a:extLst>
                <a:ext uri="{FF2B5EF4-FFF2-40B4-BE49-F238E27FC236}">
                  <a16:creationId xmlns:a16="http://schemas.microsoft.com/office/drawing/2014/main" id="{1DBD61F0-7028-4790-B1B0-F8DE51A07CEA}"/>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20048"/>
            <a:stretch/>
          </p:blipFill>
          <p:spPr>
            <a:xfrm>
              <a:off x="5259065" y="1270054"/>
              <a:ext cx="1673870" cy="1672865"/>
            </a:xfrm>
            <a:prstGeom prst="rect">
              <a:avLst/>
            </a:prstGeom>
          </p:spPr>
        </p:pic>
      </p:grpSp>
      <p:pic>
        <p:nvPicPr>
          <p:cNvPr id="35" name="Graphic 34">
            <a:extLst>
              <a:ext uri="{FF2B5EF4-FFF2-40B4-BE49-F238E27FC236}">
                <a16:creationId xmlns:a16="http://schemas.microsoft.com/office/drawing/2014/main" id="{E662C6F4-CD2F-4496-8927-99705AE28A6A}"/>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20237"/>
          <a:stretch/>
        </p:blipFill>
        <p:spPr>
          <a:xfrm>
            <a:off x="5694876" y="1146557"/>
            <a:ext cx="802245" cy="799863"/>
          </a:xfrm>
          <a:prstGeom prst="rect">
            <a:avLst/>
          </a:prstGeom>
        </p:spPr>
      </p:pic>
      <p:pic>
        <p:nvPicPr>
          <p:cNvPr id="34" name="Graphic 33">
            <a:extLst>
              <a:ext uri="{FF2B5EF4-FFF2-40B4-BE49-F238E27FC236}">
                <a16:creationId xmlns:a16="http://schemas.microsoft.com/office/drawing/2014/main" id="{6F36F994-E66D-4D06-9FBF-150630F5517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073231" y="2655048"/>
            <a:ext cx="437870" cy="547338"/>
          </a:xfrm>
          <a:prstGeom prst="rect">
            <a:avLst/>
          </a:prstGeom>
        </p:spPr>
      </p:pic>
      <p:grpSp>
        <p:nvGrpSpPr>
          <p:cNvPr id="36" name="Group 35">
            <a:extLst>
              <a:ext uri="{FF2B5EF4-FFF2-40B4-BE49-F238E27FC236}">
                <a16:creationId xmlns:a16="http://schemas.microsoft.com/office/drawing/2014/main" id="{2579A21B-BDFE-43C9-B47C-57F4AB05168C}"/>
              </a:ext>
            </a:extLst>
          </p:cNvPr>
          <p:cNvGrpSpPr/>
          <p:nvPr/>
        </p:nvGrpSpPr>
        <p:grpSpPr>
          <a:xfrm>
            <a:off x="9870097" y="1889116"/>
            <a:ext cx="1824405" cy="1844296"/>
            <a:chOff x="8784532" y="3105589"/>
            <a:chExt cx="2060688" cy="2083155"/>
          </a:xfrm>
        </p:grpSpPr>
        <p:sp>
          <p:nvSpPr>
            <p:cNvPr id="37" name="Rectangle: Rounded Corners 36">
              <a:extLst>
                <a:ext uri="{FF2B5EF4-FFF2-40B4-BE49-F238E27FC236}">
                  <a16:creationId xmlns:a16="http://schemas.microsoft.com/office/drawing/2014/main" id="{DDB3453F-18D9-435B-A561-0FB001347FCA}"/>
                </a:ext>
              </a:extLst>
            </p:cNvPr>
            <p:cNvSpPr/>
            <p:nvPr/>
          </p:nvSpPr>
          <p:spPr>
            <a:xfrm>
              <a:off x="9058963" y="3932385"/>
              <a:ext cx="1511826" cy="465883"/>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pic>
          <p:nvPicPr>
            <p:cNvPr id="38" name="Graphic 37">
              <a:extLst>
                <a:ext uri="{FF2B5EF4-FFF2-40B4-BE49-F238E27FC236}">
                  <a16:creationId xmlns:a16="http://schemas.microsoft.com/office/drawing/2014/main" id="{F395BBFD-EC88-4A1A-AA7A-A9C2309FA9CD}"/>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b="19128"/>
            <a:stretch/>
          </p:blipFill>
          <p:spPr>
            <a:xfrm>
              <a:off x="8784532" y="3105589"/>
              <a:ext cx="2060688" cy="2083155"/>
            </a:xfrm>
            <a:prstGeom prst="rect">
              <a:avLst/>
            </a:prstGeom>
          </p:spPr>
        </p:pic>
        <p:pic>
          <p:nvPicPr>
            <p:cNvPr id="41" name="Graphic 40">
              <a:extLst>
                <a:ext uri="{FF2B5EF4-FFF2-40B4-BE49-F238E27FC236}">
                  <a16:creationId xmlns:a16="http://schemas.microsoft.com/office/drawing/2014/main" id="{ECAD6CBE-5DB8-4C95-9E70-F3E41D688DFF}"/>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098523" y="4073347"/>
              <a:ext cx="146980" cy="150110"/>
            </a:xfrm>
            <a:prstGeom prst="rect">
              <a:avLst/>
            </a:prstGeom>
          </p:spPr>
        </p:pic>
        <p:pic>
          <p:nvPicPr>
            <p:cNvPr id="42" name="Graphic 41">
              <a:extLst>
                <a:ext uri="{FF2B5EF4-FFF2-40B4-BE49-F238E27FC236}">
                  <a16:creationId xmlns:a16="http://schemas.microsoft.com/office/drawing/2014/main" id="{F84BA601-A82A-46F7-B353-74974E33CEF5}"/>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101607" y="4215471"/>
              <a:ext cx="148564" cy="139585"/>
            </a:xfrm>
            <a:prstGeom prst="rect">
              <a:avLst/>
            </a:prstGeom>
          </p:spPr>
        </p:pic>
        <p:pic>
          <p:nvPicPr>
            <p:cNvPr id="43" name="Graphic 42">
              <a:extLst>
                <a:ext uri="{FF2B5EF4-FFF2-40B4-BE49-F238E27FC236}">
                  <a16:creationId xmlns:a16="http://schemas.microsoft.com/office/drawing/2014/main" id="{72D3C7EA-575D-40C5-BC9F-806348A1B2A6}"/>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315264" y="4078290"/>
              <a:ext cx="146980" cy="150110"/>
            </a:xfrm>
            <a:prstGeom prst="rect">
              <a:avLst/>
            </a:prstGeom>
          </p:spPr>
        </p:pic>
        <p:pic>
          <p:nvPicPr>
            <p:cNvPr id="44" name="Graphic 43">
              <a:extLst>
                <a:ext uri="{FF2B5EF4-FFF2-40B4-BE49-F238E27FC236}">
                  <a16:creationId xmlns:a16="http://schemas.microsoft.com/office/drawing/2014/main" id="{2A444E9D-2834-4D38-84BE-20890F5C8F09}"/>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315882" y="4204776"/>
              <a:ext cx="146980" cy="150110"/>
            </a:xfrm>
            <a:prstGeom prst="rect">
              <a:avLst/>
            </a:prstGeom>
          </p:spPr>
        </p:pic>
        <p:pic>
          <p:nvPicPr>
            <p:cNvPr id="45" name="Graphic 44">
              <a:extLst>
                <a:ext uri="{FF2B5EF4-FFF2-40B4-BE49-F238E27FC236}">
                  <a16:creationId xmlns:a16="http://schemas.microsoft.com/office/drawing/2014/main" id="{4E2EDEDA-0E81-4EFD-882A-D13ECBA4E1F4}"/>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317712" y="3953555"/>
              <a:ext cx="148564" cy="139585"/>
            </a:xfrm>
            <a:prstGeom prst="rect">
              <a:avLst/>
            </a:prstGeom>
          </p:spPr>
        </p:pic>
        <p:pic>
          <p:nvPicPr>
            <p:cNvPr id="46" name="Graphic 45">
              <a:extLst>
                <a:ext uri="{FF2B5EF4-FFF2-40B4-BE49-F238E27FC236}">
                  <a16:creationId xmlns:a16="http://schemas.microsoft.com/office/drawing/2014/main" id="{CC58353B-79B5-420D-8823-8FA172DA7F5D}"/>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156865" y="4204776"/>
              <a:ext cx="146980" cy="150110"/>
            </a:xfrm>
            <a:prstGeom prst="rect">
              <a:avLst/>
            </a:prstGeom>
          </p:spPr>
        </p:pic>
        <p:pic>
          <p:nvPicPr>
            <p:cNvPr id="47" name="Graphic 46">
              <a:extLst>
                <a:ext uri="{FF2B5EF4-FFF2-40B4-BE49-F238E27FC236}">
                  <a16:creationId xmlns:a16="http://schemas.microsoft.com/office/drawing/2014/main" id="{50EE6759-D249-48A7-AF60-CA12D192E101}"/>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161428" y="3946861"/>
              <a:ext cx="146980" cy="150110"/>
            </a:xfrm>
            <a:prstGeom prst="rect">
              <a:avLst/>
            </a:prstGeom>
          </p:spPr>
        </p:pic>
        <p:pic>
          <p:nvPicPr>
            <p:cNvPr id="48" name="Graphic 47">
              <a:extLst>
                <a:ext uri="{FF2B5EF4-FFF2-40B4-BE49-F238E27FC236}">
                  <a16:creationId xmlns:a16="http://schemas.microsoft.com/office/drawing/2014/main" id="{1C037861-1654-47F5-8D0F-24F6CACA382B}"/>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10159313" y="4083872"/>
              <a:ext cx="148564" cy="139585"/>
            </a:xfrm>
            <a:prstGeom prst="rect">
              <a:avLst/>
            </a:prstGeom>
          </p:spPr>
        </p:pic>
        <p:pic>
          <p:nvPicPr>
            <p:cNvPr id="49" name="Graphic 48">
              <a:extLst>
                <a:ext uri="{FF2B5EF4-FFF2-40B4-BE49-F238E27FC236}">
                  <a16:creationId xmlns:a16="http://schemas.microsoft.com/office/drawing/2014/main" id="{04E669B7-63B8-4D8D-8514-0F3CC4DE7BA1}"/>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376111" y="4080751"/>
              <a:ext cx="146980" cy="150110"/>
            </a:xfrm>
            <a:prstGeom prst="rect">
              <a:avLst/>
            </a:prstGeom>
          </p:spPr>
        </p:pic>
        <p:pic>
          <p:nvPicPr>
            <p:cNvPr id="50" name="Graphic 49">
              <a:extLst>
                <a:ext uri="{FF2B5EF4-FFF2-40B4-BE49-F238E27FC236}">
                  <a16:creationId xmlns:a16="http://schemas.microsoft.com/office/drawing/2014/main" id="{E0498B9D-396F-4986-AEE9-DE47C1C8DA6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376729" y="4207237"/>
              <a:ext cx="146980" cy="150110"/>
            </a:xfrm>
            <a:prstGeom prst="rect">
              <a:avLst/>
            </a:prstGeom>
          </p:spPr>
        </p:pic>
        <p:pic>
          <p:nvPicPr>
            <p:cNvPr id="51" name="Graphic 50">
              <a:extLst>
                <a:ext uri="{FF2B5EF4-FFF2-40B4-BE49-F238E27FC236}">
                  <a16:creationId xmlns:a16="http://schemas.microsoft.com/office/drawing/2014/main" id="{14D8CADD-3A04-447D-AD39-A7DEEB264305}"/>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10378559" y="3956016"/>
              <a:ext cx="148564" cy="139585"/>
            </a:xfrm>
            <a:prstGeom prst="rect">
              <a:avLst/>
            </a:prstGeom>
          </p:spPr>
        </p:pic>
        <p:pic>
          <p:nvPicPr>
            <p:cNvPr id="52" name="Graphic 51">
              <a:extLst>
                <a:ext uri="{FF2B5EF4-FFF2-40B4-BE49-F238E27FC236}">
                  <a16:creationId xmlns:a16="http://schemas.microsoft.com/office/drawing/2014/main" id="{BC9DBF9D-AB66-4B09-99A8-3A6BD075C9CA}"/>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945731" y="3950563"/>
              <a:ext cx="148564" cy="139585"/>
            </a:xfrm>
            <a:prstGeom prst="rect">
              <a:avLst/>
            </a:prstGeom>
          </p:spPr>
        </p:pic>
        <p:pic>
          <p:nvPicPr>
            <p:cNvPr id="53" name="Graphic 52">
              <a:extLst>
                <a:ext uri="{FF2B5EF4-FFF2-40B4-BE49-F238E27FC236}">
                  <a16:creationId xmlns:a16="http://schemas.microsoft.com/office/drawing/2014/main" id="{AD69984B-A523-4071-83AD-BD6701BE266B}"/>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945731" y="4082891"/>
              <a:ext cx="148564" cy="139585"/>
            </a:xfrm>
            <a:prstGeom prst="rect">
              <a:avLst/>
            </a:prstGeom>
          </p:spPr>
        </p:pic>
        <p:pic>
          <p:nvPicPr>
            <p:cNvPr id="54" name="Graphic 53">
              <a:extLst>
                <a:ext uri="{FF2B5EF4-FFF2-40B4-BE49-F238E27FC236}">
                  <a16:creationId xmlns:a16="http://schemas.microsoft.com/office/drawing/2014/main" id="{1C77A128-2A95-4B4C-84B5-0E521C35CDF9}"/>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951806" y="4212173"/>
              <a:ext cx="146980" cy="150110"/>
            </a:xfrm>
            <a:prstGeom prst="rect">
              <a:avLst/>
            </a:prstGeom>
          </p:spPr>
        </p:pic>
        <p:pic>
          <p:nvPicPr>
            <p:cNvPr id="55" name="Graphic 54">
              <a:extLst>
                <a:ext uri="{FF2B5EF4-FFF2-40B4-BE49-F238E27FC236}">
                  <a16:creationId xmlns:a16="http://schemas.microsoft.com/office/drawing/2014/main" id="{BD297632-5C26-4D61-A8E8-7F0945984C79}"/>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731890" y="4217435"/>
              <a:ext cx="148564" cy="139585"/>
            </a:xfrm>
            <a:prstGeom prst="rect">
              <a:avLst/>
            </a:prstGeom>
          </p:spPr>
        </p:pic>
        <p:pic>
          <p:nvPicPr>
            <p:cNvPr id="56" name="Graphic 55">
              <a:extLst>
                <a:ext uri="{FF2B5EF4-FFF2-40B4-BE49-F238E27FC236}">
                  <a16:creationId xmlns:a16="http://schemas.microsoft.com/office/drawing/2014/main" id="{F05A87D5-B131-4E4A-B24C-2D91803C301A}"/>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737686" y="3950194"/>
              <a:ext cx="148564" cy="139585"/>
            </a:xfrm>
            <a:prstGeom prst="rect">
              <a:avLst/>
            </a:prstGeom>
          </p:spPr>
        </p:pic>
        <p:pic>
          <p:nvPicPr>
            <p:cNvPr id="57" name="Graphic 56">
              <a:extLst>
                <a:ext uri="{FF2B5EF4-FFF2-40B4-BE49-F238E27FC236}">
                  <a16:creationId xmlns:a16="http://schemas.microsoft.com/office/drawing/2014/main" id="{6C8691D7-C119-422B-97A2-A9D211343E1E}"/>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737666" y="4078556"/>
              <a:ext cx="146980" cy="150110"/>
            </a:xfrm>
            <a:prstGeom prst="rect">
              <a:avLst/>
            </a:prstGeom>
          </p:spPr>
        </p:pic>
        <p:pic>
          <p:nvPicPr>
            <p:cNvPr id="58" name="Graphic 57">
              <a:extLst>
                <a:ext uri="{FF2B5EF4-FFF2-40B4-BE49-F238E27FC236}">
                  <a16:creationId xmlns:a16="http://schemas.microsoft.com/office/drawing/2014/main" id="{D4DF0756-DB24-4708-8ABA-069E395EFB5E}"/>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519304" y="4217169"/>
              <a:ext cx="148564" cy="139585"/>
            </a:xfrm>
            <a:prstGeom prst="rect">
              <a:avLst/>
            </a:prstGeom>
          </p:spPr>
        </p:pic>
        <p:pic>
          <p:nvPicPr>
            <p:cNvPr id="59" name="Graphic 58">
              <a:extLst>
                <a:ext uri="{FF2B5EF4-FFF2-40B4-BE49-F238E27FC236}">
                  <a16:creationId xmlns:a16="http://schemas.microsoft.com/office/drawing/2014/main" id="{4D63E911-F05F-4916-A8F6-BC0957A8C2C6}"/>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525100" y="3949928"/>
              <a:ext cx="148564" cy="139585"/>
            </a:xfrm>
            <a:prstGeom prst="rect">
              <a:avLst/>
            </a:prstGeom>
          </p:spPr>
        </p:pic>
        <p:pic>
          <p:nvPicPr>
            <p:cNvPr id="60" name="Graphic 59">
              <a:extLst>
                <a:ext uri="{FF2B5EF4-FFF2-40B4-BE49-F238E27FC236}">
                  <a16:creationId xmlns:a16="http://schemas.microsoft.com/office/drawing/2014/main" id="{E87E2351-9D69-4196-AC40-C126F07C4787}"/>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525080" y="4078290"/>
              <a:ext cx="146980" cy="150110"/>
            </a:xfrm>
            <a:prstGeom prst="rect">
              <a:avLst/>
            </a:prstGeom>
          </p:spPr>
        </p:pic>
      </p:grpSp>
      <p:grpSp>
        <p:nvGrpSpPr>
          <p:cNvPr id="61" name="Group 60">
            <a:extLst>
              <a:ext uri="{FF2B5EF4-FFF2-40B4-BE49-F238E27FC236}">
                <a16:creationId xmlns:a16="http://schemas.microsoft.com/office/drawing/2014/main" id="{4FA49F8B-02A5-4310-88C4-E907ED9ECB66}"/>
              </a:ext>
            </a:extLst>
          </p:cNvPr>
          <p:cNvGrpSpPr/>
          <p:nvPr/>
        </p:nvGrpSpPr>
        <p:grpSpPr>
          <a:xfrm>
            <a:off x="1235183" y="3333604"/>
            <a:ext cx="3451374" cy="1361460"/>
            <a:chOff x="1235183" y="3333604"/>
            <a:chExt cx="3451374" cy="1361460"/>
          </a:xfrm>
        </p:grpSpPr>
        <p:pic>
          <p:nvPicPr>
            <p:cNvPr id="62" name="Graphic 61">
              <a:extLst>
                <a:ext uri="{FF2B5EF4-FFF2-40B4-BE49-F238E27FC236}">
                  <a16:creationId xmlns:a16="http://schemas.microsoft.com/office/drawing/2014/main" id="{617B8F76-667F-41C2-8925-4DD99AB35CBC}"/>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l="2472" t="13101" r="28" b="36217"/>
            <a:stretch/>
          </p:blipFill>
          <p:spPr>
            <a:xfrm rot="14205273" flipH="1">
              <a:off x="2934079" y="3857570"/>
              <a:ext cx="1071562" cy="603425"/>
            </a:xfrm>
            <a:prstGeom prst="rect">
              <a:avLst/>
            </a:prstGeom>
          </p:spPr>
        </p:pic>
        <p:sp>
          <p:nvSpPr>
            <p:cNvPr id="63" name="TextBox 62">
              <a:extLst>
                <a:ext uri="{FF2B5EF4-FFF2-40B4-BE49-F238E27FC236}">
                  <a16:creationId xmlns:a16="http://schemas.microsoft.com/office/drawing/2014/main" id="{3D0E9897-580A-45C9-BBFF-D706043D5BA1}"/>
                </a:ext>
              </a:extLst>
            </p:cNvPr>
            <p:cNvSpPr txBox="1"/>
            <p:nvPr/>
          </p:nvSpPr>
          <p:spPr>
            <a:xfrm rot="21264721">
              <a:off x="1235183" y="3333604"/>
              <a:ext cx="3451374" cy="523220"/>
            </a:xfrm>
            <a:prstGeom prst="rect">
              <a:avLst/>
            </a:prstGeom>
            <a:noFill/>
          </p:spPr>
          <p:txBody>
            <a:bodyPr wrap="square" rtlCol="0">
              <a:spAutoFit/>
            </a:bodyPr>
            <a:lstStyle/>
            <a:p>
              <a:pPr algn="ctr"/>
              <a:r>
                <a:rPr lang="en-US" sz="2800" dirty="0">
                  <a:solidFill>
                    <a:schemeClr val="bg1"/>
                  </a:solidFill>
                  <a:latin typeface="Quicksand Bold" pitchFamily="50" charset="0"/>
                </a:rPr>
                <a:t>ELBO</a:t>
              </a:r>
              <a:endParaRPr lang="en-SG" sz="2800" dirty="0">
                <a:solidFill>
                  <a:schemeClr val="bg1"/>
                </a:solidFill>
                <a:latin typeface="Quicksand Bold" pitchFamily="50" charset="0"/>
              </a:endParaRPr>
            </a:p>
          </p:txBody>
        </p:sp>
      </p:grpSp>
    </p:spTree>
    <p:extLst>
      <p:ext uri="{BB962C8B-B14F-4D97-AF65-F5344CB8AC3E}">
        <p14:creationId xmlns:p14="http://schemas.microsoft.com/office/powerpoint/2010/main" val="3182680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6000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1+#ppt_w/2"/>
                                          </p:val>
                                        </p:tav>
                                        <p:tav tm="100000">
                                          <p:val>
                                            <p:strVal val="#ppt_x"/>
                                          </p:val>
                                        </p:tav>
                                      </p:tavLst>
                                    </p:anim>
                                    <p:anim calcmode="lin" valueType="num">
                                      <p:cBhvr additive="base">
                                        <p:cTn id="8" dur="500" fill="hold"/>
                                        <p:tgtEl>
                                          <p:spTgt spid="3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A0590206-0ED7-4C9C-A08F-015B611652EF}"/>
              </a:ext>
            </a:extLst>
          </p:cNvPr>
          <p:cNvCxnSpPr>
            <a:cxnSpLocks/>
          </p:cNvCxnSpPr>
          <p:nvPr/>
        </p:nvCxnSpPr>
        <p:spPr>
          <a:xfrm>
            <a:off x="2598211" y="2617938"/>
            <a:ext cx="8324485" cy="0"/>
          </a:xfrm>
          <a:prstGeom prst="line">
            <a:avLst/>
          </a:prstGeom>
          <a:ln w="28575">
            <a:solidFill>
              <a:schemeClr val="bg1"/>
            </a:solidFill>
            <a:prstDash val="lgDash"/>
          </a:ln>
        </p:spPr>
        <p:style>
          <a:lnRef idx="1">
            <a:schemeClr val="accent1"/>
          </a:lnRef>
          <a:fillRef idx="0">
            <a:schemeClr val="accent1"/>
          </a:fillRef>
          <a:effectRef idx="0">
            <a:schemeClr val="accent1"/>
          </a:effectRef>
          <a:fontRef idx="minor">
            <a:schemeClr val="tx1"/>
          </a:fontRef>
        </p:style>
      </p:cxnSp>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3C2B16DD-F023-4029-9C7E-B906517F9E25}"/>
              </a:ext>
            </a:extLst>
          </p:cNvPr>
          <p:cNvSpPr txBox="1">
            <a:spLocks/>
          </p:cNvSpPr>
          <p:nvPr/>
        </p:nvSpPr>
        <p:spPr>
          <a:xfrm>
            <a:off x="2057534" y="2724839"/>
            <a:ext cx="9144000" cy="1388408"/>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SG" sz="11500" dirty="0">
                <a:solidFill>
                  <a:schemeClr val="bg1"/>
                </a:solidFill>
                <a:latin typeface="Bebas Neue" panose="020B0606020202050201" pitchFamily="34" charset="0"/>
              </a:rPr>
              <a:t>Our user storyboard</a:t>
            </a:r>
          </a:p>
        </p:txBody>
      </p:sp>
      <p:cxnSp>
        <p:nvCxnSpPr>
          <p:cNvPr id="15" name="Straight Connector 14">
            <a:extLst>
              <a:ext uri="{FF2B5EF4-FFF2-40B4-BE49-F238E27FC236}">
                <a16:creationId xmlns:a16="http://schemas.microsoft.com/office/drawing/2014/main" id="{E78CEFD2-5E9F-4E60-B9FC-12B5E4410B92}"/>
              </a:ext>
            </a:extLst>
          </p:cNvPr>
          <p:cNvCxnSpPr>
            <a:cxnSpLocks/>
          </p:cNvCxnSpPr>
          <p:nvPr/>
        </p:nvCxnSpPr>
        <p:spPr>
          <a:xfrm>
            <a:off x="1671284" y="3860105"/>
            <a:ext cx="9251412" cy="0"/>
          </a:xfrm>
          <a:prstGeom prst="line">
            <a:avLst/>
          </a:prstGeom>
          <a:ln w="28575">
            <a:solidFill>
              <a:schemeClr val="bg1"/>
            </a:solidFill>
            <a:prstDash val="lgDash"/>
          </a:ln>
        </p:spPr>
        <p:style>
          <a:lnRef idx="1">
            <a:schemeClr val="accent1"/>
          </a:lnRef>
          <a:fillRef idx="0">
            <a:schemeClr val="accent1"/>
          </a:fillRef>
          <a:effectRef idx="0">
            <a:schemeClr val="accent1"/>
          </a:effectRef>
          <a:fontRef idx="minor">
            <a:schemeClr val="tx1"/>
          </a:fontRef>
        </p:style>
      </p:cxnSp>
      <p:grpSp>
        <p:nvGrpSpPr>
          <p:cNvPr id="5" name="Gears" descr="{&quot;Key&quot;:&quot;POWER_USER_SHAPE_ICON&quot;,&quot;Value&quot;:&quot;POWER_USER_SHAPE_ICON_STYLE_1&quot;}">
            <a:extLst>
              <a:ext uri="{FF2B5EF4-FFF2-40B4-BE49-F238E27FC236}">
                <a16:creationId xmlns:a16="http://schemas.microsoft.com/office/drawing/2014/main" id="{A54A2B0A-6E38-455B-9231-C304C62E2DA1}"/>
              </a:ext>
            </a:extLst>
          </p:cNvPr>
          <p:cNvGrpSpPr>
            <a:grpSpLocks noChangeAspect="1"/>
          </p:cNvGrpSpPr>
          <p:nvPr>
            <p:custDataLst>
              <p:tags r:id="rId1"/>
            </p:custDataLst>
          </p:nvPr>
        </p:nvGrpSpPr>
        <p:grpSpPr bwMode="auto">
          <a:xfrm>
            <a:off x="907198" y="2144020"/>
            <a:ext cx="1797902" cy="1918567"/>
            <a:chOff x="8" y="8"/>
            <a:chExt cx="447" cy="477"/>
          </a:xfrm>
          <a:solidFill>
            <a:schemeClr val="bg1"/>
          </a:solidFill>
        </p:grpSpPr>
        <p:sp>
          <p:nvSpPr>
            <p:cNvPr id="6" name="Gears">
              <a:extLst>
                <a:ext uri="{FF2B5EF4-FFF2-40B4-BE49-F238E27FC236}">
                  <a16:creationId xmlns:a16="http://schemas.microsoft.com/office/drawing/2014/main" id="{297E917E-D446-46B9-BE36-0309ACCA96CB}"/>
                </a:ext>
              </a:extLst>
            </p:cNvPr>
            <p:cNvSpPr>
              <a:spLocks noEditPoints="1"/>
            </p:cNvSpPr>
            <p:nvPr>
              <p:custDataLst>
                <p:tags r:id="rId2"/>
              </p:custDataLst>
            </p:nvPr>
          </p:nvSpPr>
          <p:spPr bwMode="auto">
            <a:xfrm>
              <a:off x="209" y="8"/>
              <a:ext cx="246" cy="246"/>
            </a:xfrm>
            <a:custGeom>
              <a:avLst/>
              <a:gdLst>
                <a:gd name="T0" fmla="*/ 569 w 630"/>
                <a:gd name="T1" fmla="*/ 128 h 630"/>
                <a:gd name="T2" fmla="*/ 501 w 630"/>
                <a:gd name="T3" fmla="*/ 63 h 630"/>
                <a:gd name="T4" fmla="*/ 415 w 630"/>
                <a:gd name="T5" fmla="*/ 101 h 630"/>
                <a:gd name="T6" fmla="*/ 372 w 630"/>
                <a:gd name="T7" fmla="*/ 86 h 630"/>
                <a:gd name="T8" fmla="*/ 325 w 630"/>
                <a:gd name="T9" fmla="*/ 0 h 630"/>
                <a:gd name="T10" fmla="*/ 305 w 630"/>
                <a:gd name="T11" fmla="*/ 0 h 630"/>
                <a:gd name="T12" fmla="*/ 262 w 630"/>
                <a:gd name="T13" fmla="*/ 85 h 630"/>
                <a:gd name="T14" fmla="*/ 245 w 630"/>
                <a:gd name="T15" fmla="*/ 89 h 630"/>
                <a:gd name="T16" fmla="*/ 191 w 630"/>
                <a:gd name="T17" fmla="*/ 114 h 630"/>
                <a:gd name="T18" fmla="*/ 127 w 630"/>
                <a:gd name="T19" fmla="*/ 61 h 630"/>
                <a:gd name="T20" fmla="*/ 91 w 630"/>
                <a:gd name="T21" fmla="*/ 94 h 630"/>
                <a:gd name="T22" fmla="*/ 62 w 630"/>
                <a:gd name="T23" fmla="*/ 129 h 630"/>
                <a:gd name="T24" fmla="*/ 100 w 630"/>
                <a:gd name="T25" fmla="*/ 215 h 630"/>
                <a:gd name="T26" fmla="*/ 85 w 630"/>
                <a:gd name="T27" fmla="*/ 260 h 630"/>
                <a:gd name="T28" fmla="*/ 0 w 630"/>
                <a:gd name="T29" fmla="*/ 308 h 630"/>
                <a:gd name="T30" fmla="*/ 85 w 630"/>
                <a:gd name="T31" fmla="*/ 370 h 630"/>
                <a:gd name="T32" fmla="*/ 100 w 630"/>
                <a:gd name="T33" fmla="*/ 416 h 630"/>
                <a:gd name="T34" fmla="*/ 64 w 630"/>
                <a:gd name="T35" fmla="*/ 504 h 630"/>
                <a:gd name="T36" fmla="*/ 131 w 630"/>
                <a:gd name="T37" fmla="*/ 570 h 630"/>
                <a:gd name="T38" fmla="*/ 193 w 630"/>
                <a:gd name="T39" fmla="*/ 519 h 630"/>
                <a:gd name="T40" fmla="*/ 248 w 630"/>
                <a:gd name="T41" fmla="*/ 543 h 630"/>
                <a:gd name="T42" fmla="*/ 270 w 630"/>
                <a:gd name="T43" fmla="*/ 628 h 630"/>
                <a:gd name="T44" fmla="*/ 324 w 630"/>
                <a:gd name="T45" fmla="*/ 630 h 630"/>
                <a:gd name="T46" fmla="*/ 372 w 630"/>
                <a:gd name="T47" fmla="*/ 545 h 630"/>
                <a:gd name="T48" fmla="*/ 384 w 630"/>
                <a:gd name="T49" fmla="*/ 541 h 630"/>
                <a:gd name="T50" fmla="*/ 441 w 630"/>
                <a:gd name="T51" fmla="*/ 515 h 630"/>
                <a:gd name="T52" fmla="*/ 505 w 630"/>
                <a:gd name="T53" fmla="*/ 568 h 630"/>
                <a:gd name="T54" fmla="*/ 538 w 630"/>
                <a:gd name="T55" fmla="*/ 538 h 630"/>
                <a:gd name="T56" fmla="*/ 518 w 630"/>
                <a:gd name="T57" fmla="*/ 438 h 630"/>
                <a:gd name="T58" fmla="*/ 530 w 630"/>
                <a:gd name="T59" fmla="*/ 415 h 630"/>
                <a:gd name="T60" fmla="*/ 542 w 630"/>
                <a:gd name="T61" fmla="*/ 383 h 630"/>
                <a:gd name="T62" fmla="*/ 626 w 630"/>
                <a:gd name="T63" fmla="*/ 364 h 630"/>
                <a:gd name="T64" fmla="*/ 630 w 630"/>
                <a:gd name="T65" fmla="*/ 315 h 630"/>
                <a:gd name="T66" fmla="*/ 626 w 630"/>
                <a:gd name="T67" fmla="*/ 268 h 630"/>
                <a:gd name="T68" fmla="*/ 542 w 630"/>
                <a:gd name="T69" fmla="*/ 249 h 630"/>
                <a:gd name="T70" fmla="*/ 517 w 630"/>
                <a:gd name="T71" fmla="*/ 191 h 630"/>
                <a:gd name="T72" fmla="*/ 235 w 630"/>
                <a:gd name="T73" fmla="*/ 233 h 630"/>
                <a:gd name="T74" fmla="*/ 399 w 630"/>
                <a:gd name="T75" fmla="*/ 233 h 630"/>
                <a:gd name="T76" fmla="*/ 399 w 630"/>
                <a:gd name="T77" fmla="*/ 396 h 630"/>
                <a:gd name="T78" fmla="*/ 235 w 630"/>
                <a:gd name="T79" fmla="*/ 396 h 630"/>
                <a:gd name="T80" fmla="*/ 235 w 630"/>
                <a:gd name="T81" fmla="*/ 233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0" h="630">
                  <a:moveTo>
                    <a:pt x="569" y="129"/>
                  </a:moveTo>
                  <a:lnTo>
                    <a:pt x="569" y="128"/>
                  </a:lnTo>
                  <a:cubicBezTo>
                    <a:pt x="550" y="103"/>
                    <a:pt x="527" y="81"/>
                    <a:pt x="501" y="61"/>
                  </a:cubicBezTo>
                  <a:lnTo>
                    <a:pt x="501" y="63"/>
                  </a:lnTo>
                  <a:cubicBezTo>
                    <a:pt x="480" y="79"/>
                    <a:pt x="458" y="96"/>
                    <a:pt x="438" y="114"/>
                  </a:cubicBezTo>
                  <a:cubicBezTo>
                    <a:pt x="430" y="109"/>
                    <a:pt x="422" y="105"/>
                    <a:pt x="415" y="101"/>
                  </a:cubicBezTo>
                  <a:cubicBezTo>
                    <a:pt x="405" y="96"/>
                    <a:pt x="395" y="91"/>
                    <a:pt x="383" y="89"/>
                  </a:cubicBezTo>
                  <a:cubicBezTo>
                    <a:pt x="380" y="88"/>
                    <a:pt x="376" y="86"/>
                    <a:pt x="372" y="86"/>
                  </a:cubicBezTo>
                  <a:cubicBezTo>
                    <a:pt x="370" y="59"/>
                    <a:pt x="367" y="31"/>
                    <a:pt x="363" y="4"/>
                  </a:cubicBezTo>
                  <a:cubicBezTo>
                    <a:pt x="351" y="1"/>
                    <a:pt x="338" y="1"/>
                    <a:pt x="325" y="0"/>
                  </a:cubicBezTo>
                  <a:lnTo>
                    <a:pt x="315" y="0"/>
                  </a:lnTo>
                  <a:lnTo>
                    <a:pt x="305" y="0"/>
                  </a:lnTo>
                  <a:cubicBezTo>
                    <a:pt x="292" y="1"/>
                    <a:pt x="281" y="1"/>
                    <a:pt x="270" y="4"/>
                  </a:cubicBezTo>
                  <a:cubicBezTo>
                    <a:pt x="266" y="30"/>
                    <a:pt x="263" y="57"/>
                    <a:pt x="262" y="85"/>
                  </a:cubicBezTo>
                  <a:cubicBezTo>
                    <a:pt x="257" y="85"/>
                    <a:pt x="253" y="86"/>
                    <a:pt x="248" y="88"/>
                  </a:cubicBezTo>
                  <a:cubicBezTo>
                    <a:pt x="247" y="88"/>
                    <a:pt x="246" y="88"/>
                    <a:pt x="245" y="89"/>
                  </a:cubicBezTo>
                  <a:cubicBezTo>
                    <a:pt x="235" y="91"/>
                    <a:pt x="225" y="96"/>
                    <a:pt x="215" y="101"/>
                  </a:cubicBezTo>
                  <a:cubicBezTo>
                    <a:pt x="206" y="105"/>
                    <a:pt x="198" y="109"/>
                    <a:pt x="191" y="114"/>
                  </a:cubicBezTo>
                  <a:cubicBezTo>
                    <a:pt x="170" y="96"/>
                    <a:pt x="150" y="80"/>
                    <a:pt x="128" y="63"/>
                  </a:cubicBezTo>
                  <a:lnTo>
                    <a:pt x="127" y="61"/>
                  </a:lnTo>
                  <a:cubicBezTo>
                    <a:pt x="122" y="65"/>
                    <a:pt x="117" y="69"/>
                    <a:pt x="113" y="73"/>
                  </a:cubicBezTo>
                  <a:cubicBezTo>
                    <a:pt x="105" y="79"/>
                    <a:pt x="97" y="86"/>
                    <a:pt x="91" y="94"/>
                  </a:cubicBezTo>
                  <a:cubicBezTo>
                    <a:pt x="80" y="104"/>
                    <a:pt x="71" y="116"/>
                    <a:pt x="61" y="129"/>
                  </a:cubicBezTo>
                  <a:lnTo>
                    <a:pt x="62" y="129"/>
                  </a:lnTo>
                  <a:cubicBezTo>
                    <a:pt x="78" y="150"/>
                    <a:pt x="96" y="170"/>
                    <a:pt x="114" y="191"/>
                  </a:cubicBezTo>
                  <a:cubicBezTo>
                    <a:pt x="109" y="199"/>
                    <a:pt x="104" y="208"/>
                    <a:pt x="100" y="215"/>
                  </a:cubicBezTo>
                  <a:cubicBezTo>
                    <a:pt x="95" y="225"/>
                    <a:pt x="91" y="236"/>
                    <a:pt x="89" y="246"/>
                  </a:cubicBezTo>
                  <a:cubicBezTo>
                    <a:pt x="86" y="251"/>
                    <a:pt x="85" y="256"/>
                    <a:pt x="85" y="260"/>
                  </a:cubicBezTo>
                  <a:cubicBezTo>
                    <a:pt x="57" y="263"/>
                    <a:pt x="30" y="265"/>
                    <a:pt x="4" y="269"/>
                  </a:cubicBezTo>
                  <a:cubicBezTo>
                    <a:pt x="1" y="281"/>
                    <a:pt x="0" y="294"/>
                    <a:pt x="0" y="308"/>
                  </a:cubicBezTo>
                  <a:cubicBezTo>
                    <a:pt x="0" y="326"/>
                    <a:pt x="1" y="345"/>
                    <a:pt x="5" y="363"/>
                  </a:cubicBezTo>
                  <a:cubicBezTo>
                    <a:pt x="31" y="365"/>
                    <a:pt x="57" y="368"/>
                    <a:pt x="85" y="370"/>
                  </a:cubicBezTo>
                  <a:cubicBezTo>
                    <a:pt x="85" y="375"/>
                    <a:pt x="86" y="380"/>
                    <a:pt x="89" y="384"/>
                  </a:cubicBezTo>
                  <a:cubicBezTo>
                    <a:pt x="91" y="395"/>
                    <a:pt x="95" y="405"/>
                    <a:pt x="100" y="416"/>
                  </a:cubicBezTo>
                  <a:cubicBezTo>
                    <a:pt x="105" y="425"/>
                    <a:pt x="109" y="434"/>
                    <a:pt x="115" y="441"/>
                  </a:cubicBezTo>
                  <a:cubicBezTo>
                    <a:pt x="97" y="463"/>
                    <a:pt x="80" y="483"/>
                    <a:pt x="64" y="504"/>
                  </a:cubicBezTo>
                  <a:cubicBezTo>
                    <a:pt x="82" y="530"/>
                    <a:pt x="105" y="553"/>
                    <a:pt x="131" y="571"/>
                  </a:cubicBezTo>
                  <a:lnTo>
                    <a:pt x="131" y="570"/>
                  </a:lnTo>
                  <a:cubicBezTo>
                    <a:pt x="151" y="554"/>
                    <a:pt x="172" y="536"/>
                    <a:pt x="192" y="519"/>
                  </a:cubicBezTo>
                  <a:lnTo>
                    <a:pt x="193" y="519"/>
                  </a:lnTo>
                  <a:cubicBezTo>
                    <a:pt x="200" y="523"/>
                    <a:pt x="207" y="526"/>
                    <a:pt x="214" y="530"/>
                  </a:cubicBezTo>
                  <a:cubicBezTo>
                    <a:pt x="225" y="535"/>
                    <a:pt x="237" y="540"/>
                    <a:pt x="248" y="543"/>
                  </a:cubicBezTo>
                  <a:cubicBezTo>
                    <a:pt x="253" y="544"/>
                    <a:pt x="257" y="545"/>
                    <a:pt x="261" y="546"/>
                  </a:cubicBezTo>
                  <a:cubicBezTo>
                    <a:pt x="264" y="573"/>
                    <a:pt x="266" y="600"/>
                    <a:pt x="270" y="628"/>
                  </a:cubicBezTo>
                  <a:cubicBezTo>
                    <a:pt x="281" y="629"/>
                    <a:pt x="292" y="630"/>
                    <a:pt x="305" y="630"/>
                  </a:cubicBezTo>
                  <a:lnTo>
                    <a:pt x="324" y="630"/>
                  </a:lnTo>
                  <a:cubicBezTo>
                    <a:pt x="337" y="630"/>
                    <a:pt x="351" y="629"/>
                    <a:pt x="365" y="626"/>
                  </a:cubicBezTo>
                  <a:cubicBezTo>
                    <a:pt x="367" y="600"/>
                    <a:pt x="370" y="573"/>
                    <a:pt x="372" y="545"/>
                  </a:cubicBezTo>
                  <a:lnTo>
                    <a:pt x="384" y="541"/>
                  </a:lnTo>
                  <a:lnTo>
                    <a:pt x="384" y="541"/>
                  </a:lnTo>
                  <a:cubicBezTo>
                    <a:pt x="395" y="539"/>
                    <a:pt x="405" y="535"/>
                    <a:pt x="415" y="530"/>
                  </a:cubicBezTo>
                  <a:cubicBezTo>
                    <a:pt x="424" y="526"/>
                    <a:pt x="432" y="521"/>
                    <a:pt x="441" y="515"/>
                  </a:cubicBezTo>
                  <a:cubicBezTo>
                    <a:pt x="441" y="516"/>
                    <a:pt x="441" y="516"/>
                    <a:pt x="442" y="516"/>
                  </a:cubicBezTo>
                  <a:cubicBezTo>
                    <a:pt x="462" y="534"/>
                    <a:pt x="483" y="551"/>
                    <a:pt x="505" y="568"/>
                  </a:cubicBezTo>
                  <a:cubicBezTo>
                    <a:pt x="508" y="565"/>
                    <a:pt x="512" y="563"/>
                    <a:pt x="517" y="559"/>
                  </a:cubicBezTo>
                  <a:cubicBezTo>
                    <a:pt x="525" y="553"/>
                    <a:pt x="532" y="545"/>
                    <a:pt x="538" y="538"/>
                  </a:cubicBezTo>
                  <a:cubicBezTo>
                    <a:pt x="550" y="526"/>
                    <a:pt x="561" y="514"/>
                    <a:pt x="571" y="500"/>
                  </a:cubicBezTo>
                  <a:cubicBezTo>
                    <a:pt x="553" y="479"/>
                    <a:pt x="536" y="458"/>
                    <a:pt x="518" y="438"/>
                  </a:cubicBezTo>
                  <a:lnTo>
                    <a:pt x="518" y="436"/>
                  </a:lnTo>
                  <a:cubicBezTo>
                    <a:pt x="522" y="430"/>
                    <a:pt x="526" y="422"/>
                    <a:pt x="530" y="415"/>
                  </a:cubicBezTo>
                  <a:cubicBezTo>
                    <a:pt x="533" y="405"/>
                    <a:pt x="538" y="395"/>
                    <a:pt x="541" y="385"/>
                  </a:cubicBezTo>
                  <a:cubicBezTo>
                    <a:pt x="541" y="384"/>
                    <a:pt x="541" y="383"/>
                    <a:pt x="542" y="383"/>
                  </a:cubicBezTo>
                  <a:cubicBezTo>
                    <a:pt x="542" y="378"/>
                    <a:pt x="543" y="374"/>
                    <a:pt x="545" y="371"/>
                  </a:cubicBezTo>
                  <a:cubicBezTo>
                    <a:pt x="572" y="369"/>
                    <a:pt x="600" y="366"/>
                    <a:pt x="626" y="364"/>
                  </a:cubicBezTo>
                  <a:cubicBezTo>
                    <a:pt x="629" y="351"/>
                    <a:pt x="629" y="339"/>
                    <a:pt x="630" y="326"/>
                  </a:cubicBezTo>
                  <a:lnTo>
                    <a:pt x="630" y="315"/>
                  </a:lnTo>
                  <a:lnTo>
                    <a:pt x="630" y="305"/>
                  </a:lnTo>
                  <a:cubicBezTo>
                    <a:pt x="629" y="293"/>
                    <a:pt x="629" y="280"/>
                    <a:pt x="626" y="268"/>
                  </a:cubicBezTo>
                  <a:cubicBezTo>
                    <a:pt x="600" y="265"/>
                    <a:pt x="572" y="263"/>
                    <a:pt x="545" y="260"/>
                  </a:cubicBezTo>
                  <a:cubicBezTo>
                    <a:pt x="544" y="256"/>
                    <a:pt x="542" y="252"/>
                    <a:pt x="542" y="249"/>
                  </a:cubicBezTo>
                  <a:cubicBezTo>
                    <a:pt x="538" y="238"/>
                    <a:pt x="535" y="226"/>
                    <a:pt x="530" y="215"/>
                  </a:cubicBezTo>
                  <a:cubicBezTo>
                    <a:pt x="526" y="207"/>
                    <a:pt x="521" y="199"/>
                    <a:pt x="517" y="191"/>
                  </a:cubicBezTo>
                  <a:cubicBezTo>
                    <a:pt x="534" y="171"/>
                    <a:pt x="551" y="150"/>
                    <a:pt x="569" y="129"/>
                  </a:cubicBezTo>
                  <a:close/>
                  <a:moveTo>
                    <a:pt x="235" y="233"/>
                  </a:moveTo>
                  <a:cubicBezTo>
                    <a:pt x="257" y="209"/>
                    <a:pt x="285" y="198"/>
                    <a:pt x="316" y="199"/>
                  </a:cubicBezTo>
                  <a:cubicBezTo>
                    <a:pt x="349" y="198"/>
                    <a:pt x="375" y="209"/>
                    <a:pt x="399" y="233"/>
                  </a:cubicBezTo>
                  <a:cubicBezTo>
                    <a:pt x="421" y="255"/>
                    <a:pt x="432" y="283"/>
                    <a:pt x="432" y="314"/>
                  </a:cubicBezTo>
                  <a:cubicBezTo>
                    <a:pt x="432" y="346"/>
                    <a:pt x="421" y="373"/>
                    <a:pt x="399" y="396"/>
                  </a:cubicBezTo>
                  <a:cubicBezTo>
                    <a:pt x="375" y="419"/>
                    <a:pt x="349" y="430"/>
                    <a:pt x="316" y="430"/>
                  </a:cubicBezTo>
                  <a:cubicBezTo>
                    <a:pt x="285" y="430"/>
                    <a:pt x="257" y="419"/>
                    <a:pt x="235" y="396"/>
                  </a:cubicBezTo>
                  <a:cubicBezTo>
                    <a:pt x="212" y="373"/>
                    <a:pt x="201" y="346"/>
                    <a:pt x="201" y="314"/>
                  </a:cubicBezTo>
                  <a:cubicBezTo>
                    <a:pt x="201" y="283"/>
                    <a:pt x="212" y="255"/>
                    <a:pt x="235" y="233"/>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chemeClr val="tx1"/>
                  </a:solidFill>
                </a:ln>
                <a:solidFill>
                  <a:prstClr val="black"/>
                </a:solidFill>
                <a:effectLst/>
                <a:uLnTx/>
                <a:uFillTx/>
                <a:latin typeface="Calibri" panose="020F0502020204030204"/>
                <a:ea typeface="+mn-ea"/>
                <a:cs typeface="+mn-cs"/>
              </a:endParaRPr>
            </a:p>
          </p:txBody>
        </p:sp>
        <p:sp>
          <p:nvSpPr>
            <p:cNvPr id="7" name="Gears">
              <a:extLst>
                <a:ext uri="{FF2B5EF4-FFF2-40B4-BE49-F238E27FC236}">
                  <a16:creationId xmlns:a16="http://schemas.microsoft.com/office/drawing/2014/main" id="{107451A6-3D20-4303-8C62-3821E899514E}"/>
                </a:ext>
              </a:extLst>
            </p:cNvPr>
            <p:cNvSpPr>
              <a:spLocks noEditPoints="1"/>
            </p:cNvSpPr>
            <p:nvPr>
              <p:custDataLst>
                <p:tags r:id="rId3"/>
              </p:custDataLst>
            </p:nvPr>
          </p:nvSpPr>
          <p:spPr bwMode="auto">
            <a:xfrm>
              <a:off x="294" y="92"/>
              <a:ext cx="77" cy="78"/>
            </a:xfrm>
            <a:custGeom>
              <a:avLst/>
              <a:gdLst>
                <a:gd name="T0" fmla="*/ 98 w 197"/>
                <a:gd name="T1" fmla="*/ 0 h 199"/>
                <a:gd name="T2" fmla="*/ 28 w 197"/>
                <a:gd name="T3" fmla="*/ 29 h 199"/>
                <a:gd name="T4" fmla="*/ 0 w 197"/>
                <a:gd name="T5" fmla="*/ 99 h 199"/>
                <a:gd name="T6" fmla="*/ 28 w 197"/>
                <a:gd name="T7" fmla="*/ 169 h 199"/>
                <a:gd name="T8" fmla="*/ 28 w 197"/>
                <a:gd name="T9" fmla="*/ 169 h 199"/>
                <a:gd name="T10" fmla="*/ 98 w 197"/>
                <a:gd name="T11" fmla="*/ 199 h 199"/>
                <a:gd name="T12" fmla="*/ 168 w 197"/>
                <a:gd name="T13" fmla="*/ 169 h 199"/>
                <a:gd name="T14" fmla="*/ 168 w 197"/>
                <a:gd name="T15" fmla="*/ 169 h 199"/>
                <a:gd name="T16" fmla="*/ 197 w 197"/>
                <a:gd name="T17" fmla="*/ 99 h 199"/>
                <a:gd name="T18" fmla="*/ 197 w 197"/>
                <a:gd name="T19" fmla="*/ 99 h 199"/>
                <a:gd name="T20" fmla="*/ 168 w 197"/>
                <a:gd name="T21" fmla="*/ 29 h 199"/>
                <a:gd name="T22" fmla="*/ 98 w 197"/>
                <a:gd name="T23" fmla="*/ 0 h 199"/>
                <a:gd name="T24" fmla="*/ 46 w 197"/>
                <a:gd name="T25" fmla="*/ 46 h 199"/>
                <a:gd name="T26" fmla="*/ 98 w 197"/>
                <a:gd name="T27" fmla="*/ 25 h 199"/>
                <a:gd name="T28" fmla="*/ 151 w 197"/>
                <a:gd name="T29" fmla="*/ 46 h 199"/>
                <a:gd name="T30" fmla="*/ 172 w 197"/>
                <a:gd name="T31" fmla="*/ 99 h 199"/>
                <a:gd name="T32" fmla="*/ 172 w 197"/>
                <a:gd name="T33" fmla="*/ 99 h 199"/>
                <a:gd name="T34" fmla="*/ 151 w 197"/>
                <a:gd name="T35" fmla="*/ 151 h 199"/>
                <a:gd name="T36" fmla="*/ 98 w 197"/>
                <a:gd name="T37" fmla="*/ 174 h 199"/>
                <a:gd name="T38" fmla="*/ 46 w 197"/>
                <a:gd name="T39" fmla="*/ 151 h 199"/>
                <a:gd name="T40" fmla="*/ 24 w 197"/>
                <a:gd name="T41" fmla="*/ 99 h 199"/>
                <a:gd name="T42" fmla="*/ 46 w 197"/>
                <a:gd name="T43" fmla="*/ 4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7" h="199">
                  <a:moveTo>
                    <a:pt x="98" y="0"/>
                  </a:moveTo>
                  <a:cubicBezTo>
                    <a:pt x="71" y="0"/>
                    <a:pt x="48" y="10"/>
                    <a:pt x="28" y="29"/>
                  </a:cubicBezTo>
                  <a:cubicBezTo>
                    <a:pt x="10" y="49"/>
                    <a:pt x="0" y="71"/>
                    <a:pt x="0" y="99"/>
                  </a:cubicBezTo>
                  <a:cubicBezTo>
                    <a:pt x="0" y="126"/>
                    <a:pt x="10" y="149"/>
                    <a:pt x="28" y="169"/>
                  </a:cubicBezTo>
                  <a:lnTo>
                    <a:pt x="28" y="169"/>
                  </a:lnTo>
                  <a:cubicBezTo>
                    <a:pt x="48" y="189"/>
                    <a:pt x="71" y="199"/>
                    <a:pt x="98" y="199"/>
                  </a:cubicBezTo>
                  <a:cubicBezTo>
                    <a:pt x="126" y="199"/>
                    <a:pt x="148" y="189"/>
                    <a:pt x="168" y="169"/>
                  </a:cubicBezTo>
                  <a:lnTo>
                    <a:pt x="168" y="169"/>
                  </a:lnTo>
                  <a:cubicBezTo>
                    <a:pt x="188" y="149"/>
                    <a:pt x="197" y="126"/>
                    <a:pt x="197" y="99"/>
                  </a:cubicBezTo>
                  <a:lnTo>
                    <a:pt x="197" y="99"/>
                  </a:lnTo>
                  <a:cubicBezTo>
                    <a:pt x="197" y="71"/>
                    <a:pt x="188" y="49"/>
                    <a:pt x="168" y="29"/>
                  </a:cubicBezTo>
                  <a:cubicBezTo>
                    <a:pt x="148" y="10"/>
                    <a:pt x="126" y="0"/>
                    <a:pt x="98" y="0"/>
                  </a:cubicBezTo>
                  <a:close/>
                  <a:moveTo>
                    <a:pt x="46" y="46"/>
                  </a:moveTo>
                  <a:cubicBezTo>
                    <a:pt x="61" y="32"/>
                    <a:pt x="78" y="25"/>
                    <a:pt x="98" y="25"/>
                  </a:cubicBezTo>
                  <a:cubicBezTo>
                    <a:pt x="118" y="25"/>
                    <a:pt x="136" y="33"/>
                    <a:pt x="151" y="46"/>
                  </a:cubicBezTo>
                  <a:cubicBezTo>
                    <a:pt x="166" y="61"/>
                    <a:pt x="172" y="78"/>
                    <a:pt x="172" y="99"/>
                  </a:cubicBezTo>
                  <a:lnTo>
                    <a:pt x="172" y="99"/>
                  </a:lnTo>
                  <a:cubicBezTo>
                    <a:pt x="172" y="120"/>
                    <a:pt x="166" y="138"/>
                    <a:pt x="151" y="151"/>
                  </a:cubicBezTo>
                  <a:cubicBezTo>
                    <a:pt x="136" y="166"/>
                    <a:pt x="118" y="174"/>
                    <a:pt x="98" y="174"/>
                  </a:cubicBezTo>
                  <a:cubicBezTo>
                    <a:pt x="78" y="174"/>
                    <a:pt x="61" y="166"/>
                    <a:pt x="46" y="151"/>
                  </a:cubicBezTo>
                  <a:cubicBezTo>
                    <a:pt x="32" y="137"/>
                    <a:pt x="24" y="120"/>
                    <a:pt x="24" y="99"/>
                  </a:cubicBezTo>
                  <a:cubicBezTo>
                    <a:pt x="25" y="79"/>
                    <a:pt x="32" y="61"/>
                    <a:pt x="46" y="46"/>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chemeClr val="tx1"/>
                  </a:solidFill>
                </a:ln>
                <a:solidFill>
                  <a:prstClr val="black"/>
                </a:solidFill>
                <a:effectLst/>
                <a:uLnTx/>
                <a:uFillTx/>
                <a:latin typeface="Calibri" panose="020F0502020204030204"/>
                <a:ea typeface="+mn-ea"/>
                <a:cs typeface="+mn-cs"/>
              </a:endParaRPr>
            </a:p>
          </p:txBody>
        </p:sp>
        <p:sp>
          <p:nvSpPr>
            <p:cNvPr id="8" name="Gears">
              <a:extLst>
                <a:ext uri="{FF2B5EF4-FFF2-40B4-BE49-F238E27FC236}">
                  <a16:creationId xmlns:a16="http://schemas.microsoft.com/office/drawing/2014/main" id="{5AD2600E-CC6D-4C09-BC18-B6E2ED4E7D13}"/>
                </a:ext>
              </a:extLst>
            </p:cNvPr>
            <p:cNvSpPr>
              <a:spLocks noEditPoints="1"/>
            </p:cNvSpPr>
            <p:nvPr>
              <p:custDataLst>
                <p:tags r:id="rId4"/>
              </p:custDataLst>
            </p:nvPr>
          </p:nvSpPr>
          <p:spPr bwMode="auto">
            <a:xfrm>
              <a:off x="8" y="167"/>
              <a:ext cx="316" cy="318"/>
            </a:xfrm>
            <a:custGeom>
              <a:avLst/>
              <a:gdLst>
                <a:gd name="T0" fmla="*/ 497 w 810"/>
                <a:gd name="T1" fmla="*/ 8 h 812"/>
                <a:gd name="T2" fmla="*/ 416 w 810"/>
                <a:gd name="T3" fmla="*/ 98 h 812"/>
                <a:gd name="T4" fmla="*/ 394 w 810"/>
                <a:gd name="T5" fmla="*/ 98 h 812"/>
                <a:gd name="T6" fmla="*/ 318 w 810"/>
                <a:gd name="T7" fmla="*/ 112 h 812"/>
                <a:gd name="T8" fmla="*/ 255 w 810"/>
                <a:gd name="T9" fmla="*/ 26 h 812"/>
                <a:gd name="T10" fmla="*/ 199 w 810"/>
                <a:gd name="T11" fmla="*/ 53 h 812"/>
                <a:gd name="T12" fmla="*/ 150 w 810"/>
                <a:gd name="T13" fmla="*/ 88 h 812"/>
                <a:gd name="T14" fmla="*/ 170 w 810"/>
                <a:gd name="T15" fmla="*/ 208 h 812"/>
                <a:gd name="T16" fmla="*/ 144 w 810"/>
                <a:gd name="T17" fmla="*/ 243 h 812"/>
                <a:gd name="T18" fmla="*/ 30 w 810"/>
                <a:gd name="T19" fmla="*/ 242 h 812"/>
                <a:gd name="T20" fmla="*/ 0 w 810"/>
                <a:gd name="T21" fmla="*/ 361 h 812"/>
                <a:gd name="T22" fmla="*/ 97 w 810"/>
                <a:gd name="T23" fmla="*/ 416 h 812"/>
                <a:gd name="T24" fmla="*/ 111 w 810"/>
                <a:gd name="T25" fmla="*/ 497 h 812"/>
                <a:gd name="T26" fmla="*/ 87 w 810"/>
                <a:gd name="T27" fmla="*/ 663 h 812"/>
                <a:gd name="T28" fmla="*/ 184 w 810"/>
                <a:gd name="T29" fmla="*/ 620 h 812"/>
                <a:gd name="T30" fmla="*/ 206 w 810"/>
                <a:gd name="T31" fmla="*/ 641 h 812"/>
                <a:gd name="T32" fmla="*/ 260 w 810"/>
                <a:gd name="T33" fmla="*/ 677 h 812"/>
                <a:gd name="T34" fmla="*/ 286 w 810"/>
                <a:gd name="T35" fmla="*/ 796 h 812"/>
                <a:gd name="T36" fmla="*/ 361 w 810"/>
                <a:gd name="T37" fmla="*/ 812 h 812"/>
                <a:gd name="T38" fmla="*/ 414 w 810"/>
                <a:gd name="T39" fmla="*/ 712 h 812"/>
                <a:gd name="T40" fmla="*/ 458 w 810"/>
                <a:gd name="T41" fmla="*/ 708 h 812"/>
                <a:gd name="T42" fmla="*/ 496 w 810"/>
                <a:gd name="T43" fmla="*/ 700 h 812"/>
                <a:gd name="T44" fmla="*/ 575 w 810"/>
                <a:gd name="T45" fmla="*/ 777 h 812"/>
                <a:gd name="T46" fmla="*/ 663 w 810"/>
                <a:gd name="T47" fmla="*/ 722 h 812"/>
                <a:gd name="T48" fmla="*/ 619 w 810"/>
                <a:gd name="T49" fmla="*/ 626 h 812"/>
                <a:gd name="T50" fmla="*/ 665 w 810"/>
                <a:gd name="T51" fmla="*/ 568 h 812"/>
                <a:gd name="T52" fmla="*/ 674 w 810"/>
                <a:gd name="T53" fmla="*/ 552 h 812"/>
                <a:gd name="T54" fmla="*/ 795 w 810"/>
                <a:gd name="T55" fmla="*/ 523 h 812"/>
                <a:gd name="T56" fmla="*/ 803 w 810"/>
                <a:gd name="T57" fmla="*/ 498 h 812"/>
                <a:gd name="T58" fmla="*/ 711 w 810"/>
                <a:gd name="T59" fmla="*/ 413 h 812"/>
                <a:gd name="T60" fmla="*/ 706 w 810"/>
                <a:gd name="T61" fmla="*/ 352 h 812"/>
                <a:gd name="T62" fmla="*/ 784 w 810"/>
                <a:gd name="T63" fmla="*/ 256 h 812"/>
                <a:gd name="T64" fmla="*/ 723 w 810"/>
                <a:gd name="T65" fmla="*/ 151 h 812"/>
                <a:gd name="T66" fmla="*/ 628 w 810"/>
                <a:gd name="T67" fmla="*/ 195 h 812"/>
                <a:gd name="T68" fmla="*/ 566 w 810"/>
                <a:gd name="T69" fmla="*/ 146 h 812"/>
                <a:gd name="T70" fmla="*/ 570 w 810"/>
                <a:gd name="T71" fmla="*/ 32 h 812"/>
                <a:gd name="T72" fmla="*/ 510 w 810"/>
                <a:gd name="T73" fmla="*/ 12 h 812"/>
                <a:gd name="T74" fmla="*/ 263 w 810"/>
                <a:gd name="T75" fmla="*/ 366 h 812"/>
                <a:gd name="T76" fmla="*/ 445 w 810"/>
                <a:gd name="T77" fmla="*/ 260 h 812"/>
                <a:gd name="T78" fmla="*/ 551 w 810"/>
                <a:gd name="T79" fmla="*/ 443 h 812"/>
                <a:gd name="T80" fmla="*/ 369 w 810"/>
                <a:gd name="T81" fmla="*/ 548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0" h="812">
                  <a:moveTo>
                    <a:pt x="510" y="12"/>
                  </a:moveTo>
                  <a:cubicBezTo>
                    <a:pt x="505" y="10"/>
                    <a:pt x="501" y="8"/>
                    <a:pt x="497" y="8"/>
                  </a:cubicBezTo>
                  <a:cubicBezTo>
                    <a:pt x="482" y="5"/>
                    <a:pt x="468" y="2"/>
                    <a:pt x="452" y="0"/>
                  </a:cubicBezTo>
                  <a:cubicBezTo>
                    <a:pt x="439" y="33"/>
                    <a:pt x="427" y="66"/>
                    <a:pt x="416" y="98"/>
                  </a:cubicBezTo>
                  <a:lnTo>
                    <a:pt x="399" y="98"/>
                  </a:lnTo>
                  <a:lnTo>
                    <a:pt x="394" y="98"/>
                  </a:lnTo>
                  <a:cubicBezTo>
                    <a:pt x="379" y="100"/>
                    <a:pt x="365" y="101"/>
                    <a:pt x="351" y="103"/>
                  </a:cubicBezTo>
                  <a:cubicBezTo>
                    <a:pt x="340" y="105"/>
                    <a:pt x="329" y="108"/>
                    <a:pt x="318" y="112"/>
                  </a:cubicBezTo>
                  <a:cubicBezTo>
                    <a:pt x="298" y="83"/>
                    <a:pt x="276" y="55"/>
                    <a:pt x="256" y="27"/>
                  </a:cubicBezTo>
                  <a:lnTo>
                    <a:pt x="255" y="26"/>
                  </a:lnTo>
                  <a:cubicBezTo>
                    <a:pt x="247" y="28"/>
                    <a:pt x="240" y="31"/>
                    <a:pt x="234" y="35"/>
                  </a:cubicBezTo>
                  <a:cubicBezTo>
                    <a:pt x="221" y="40"/>
                    <a:pt x="210" y="46"/>
                    <a:pt x="199" y="53"/>
                  </a:cubicBezTo>
                  <a:cubicBezTo>
                    <a:pt x="181" y="62"/>
                    <a:pt x="165" y="73"/>
                    <a:pt x="150" y="87"/>
                  </a:cubicBezTo>
                  <a:lnTo>
                    <a:pt x="150" y="88"/>
                  </a:lnTo>
                  <a:cubicBezTo>
                    <a:pt x="165" y="120"/>
                    <a:pt x="179" y="151"/>
                    <a:pt x="194" y="182"/>
                  </a:cubicBezTo>
                  <a:cubicBezTo>
                    <a:pt x="185" y="191"/>
                    <a:pt x="177" y="198"/>
                    <a:pt x="170" y="208"/>
                  </a:cubicBezTo>
                  <a:cubicBezTo>
                    <a:pt x="160" y="218"/>
                    <a:pt x="151" y="231"/>
                    <a:pt x="144" y="243"/>
                  </a:cubicBezTo>
                  <a:lnTo>
                    <a:pt x="144" y="243"/>
                  </a:lnTo>
                  <a:cubicBezTo>
                    <a:pt x="140" y="248"/>
                    <a:pt x="137" y="253"/>
                    <a:pt x="135" y="260"/>
                  </a:cubicBezTo>
                  <a:cubicBezTo>
                    <a:pt x="100" y="253"/>
                    <a:pt x="65" y="247"/>
                    <a:pt x="30" y="242"/>
                  </a:cubicBezTo>
                  <a:cubicBezTo>
                    <a:pt x="24" y="257"/>
                    <a:pt x="17" y="272"/>
                    <a:pt x="12" y="288"/>
                  </a:cubicBezTo>
                  <a:cubicBezTo>
                    <a:pt x="7" y="313"/>
                    <a:pt x="2" y="337"/>
                    <a:pt x="0" y="361"/>
                  </a:cubicBezTo>
                  <a:lnTo>
                    <a:pt x="97" y="398"/>
                  </a:lnTo>
                  <a:lnTo>
                    <a:pt x="97" y="416"/>
                  </a:lnTo>
                  <a:cubicBezTo>
                    <a:pt x="97" y="430"/>
                    <a:pt x="99" y="445"/>
                    <a:pt x="102" y="460"/>
                  </a:cubicBezTo>
                  <a:cubicBezTo>
                    <a:pt x="104" y="472"/>
                    <a:pt x="108" y="485"/>
                    <a:pt x="111" y="497"/>
                  </a:cubicBezTo>
                  <a:cubicBezTo>
                    <a:pt x="82" y="517"/>
                    <a:pt x="55" y="537"/>
                    <a:pt x="26" y="558"/>
                  </a:cubicBezTo>
                  <a:cubicBezTo>
                    <a:pt x="41" y="596"/>
                    <a:pt x="62" y="631"/>
                    <a:pt x="87" y="663"/>
                  </a:cubicBezTo>
                  <a:lnTo>
                    <a:pt x="89" y="663"/>
                  </a:lnTo>
                  <a:cubicBezTo>
                    <a:pt x="120" y="648"/>
                    <a:pt x="151" y="635"/>
                    <a:pt x="184" y="620"/>
                  </a:cubicBezTo>
                  <a:lnTo>
                    <a:pt x="184" y="620"/>
                  </a:lnTo>
                  <a:cubicBezTo>
                    <a:pt x="191" y="627"/>
                    <a:pt x="199" y="633"/>
                    <a:pt x="206" y="641"/>
                  </a:cubicBezTo>
                  <a:cubicBezTo>
                    <a:pt x="217" y="651"/>
                    <a:pt x="231" y="660"/>
                    <a:pt x="246" y="668"/>
                  </a:cubicBezTo>
                  <a:cubicBezTo>
                    <a:pt x="250" y="671"/>
                    <a:pt x="255" y="673"/>
                    <a:pt x="260" y="677"/>
                  </a:cubicBezTo>
                  <a:cubicBezTo>
                    <a:pt x="254" y="711"/>
                    <a:pt x="249" y="746"/>
                    <a:pt x="244" y="781"/>
                  </a:cubicBezTo>
                  <a:cubicBezTo>
                    <a:pt x="258" y="787"/>
                    <a:pt x="271" y="792"/>
                    <a:pt x="286" y="796"/>
                  </a:cubicBezTo>
                  <a:cubicBezTo>
                    <a:pt x="290" y="797"/>
                    <a:pt x="297" y="800"/>
                    <a:pt x="310" y="802"/>
                  </a:cubicBezTo>
                  <a:cubicBezTo>
                    <a:pt x="327" y="807"/>
                    <a:pt x="345" y="810"/>
                    <a:pt x="361" y="812"/>
                  </a:cubicBezTo>
                  <a:cubicBezTo>
                    <a:pt x="375" y="778"/>
                    <a:pt x="388" y="746"/>
                    <a:pt x="399" y="712"/>
                  </a:cubicBezTo>
                  <a:lnTo>
                    <a:pt x="414" y="712"/>
                  </a:lnTo>
                  <a:lnTo>
                    <a:pt x="415" y="712"/>
                  </a:lnTo>
                  <a:cubicBezTo>
                    <a:pt x="430" y="712"/>
                    <a:pt x="444" y="711"/>
                    <a:pt x="458" y="708"/>
                  </a:cubicBezTo>
                  <a:cubicBezTo>
                    <a:pt x="470" y="706"/>
                    <a:pt x="483" y="702"/>
                    <a:pt x="495" y="698"/>
                  </a:cubicBezTo>
                  <a:cubicBezTo>
                    <a:pt x="495" y="698"/>
                    <a:pt x="495" y="700"/>
                    <a:pt x="496" y="700"/>
                  </a:cubicBezTo>
                  <a:cubicBezTo>
                    <a:pt x="516" y="728"/>
                    <a:pt x="538" y="757"/>
                    <a:pt x="558" y="786"/>
                  </a:cubicBezTo>
                  <a:cubicBezTo>
                    <a:pt x="564" y="782"/>
                    <a:pt x="570" y="780"/>
                    <a:pt x="575" y="777"/>
                  </a:cubicBezTo>
                  <a:cubicBezTo>
                    <a:pt x="588" y="772"/>
                    <a:pt x="599" y="766"/>
                    <a:pt x="610" y="760"/>
                  </a:cubicBezTo>
                  <a:cubicBezTo>
                    <a:pt x="629" y="748"/>
                    <a:pt x="646" y="736"/>
                    <a:pt x="663" y="722"/>
                  </a:cubicBezTo>
                  <a:cubicBezTo>
                    <a:pt x="649" y="690"/>
                    <a:pt x="634" y="658"/>
                    <a:pt x="619" y="626"/>
                  </a:cubicBezTo>
                  <a:lnTo>
                    <a:pt x="619" y="626"/>
                  </a:lnTo>
                  <a:cubicBezTo>
                    <a:pt x="626" y="618"/>
                    <a:pt x="633" y="611"/>
                    <a:pt x="640" y="603"/>
                  </a:cubicBezTo>
                  <a:cubicBezTo>
                    <a:pt x="649" y="592"/>
                    <a:pt x="658" y="580"/>
                    <a:pt x="665" y="568"/>
                  </a:cubicBezTo>
                  <a:cubicBezTo>
                    <a:pt x="665" y="567"/>
                    <a:pt x="666" y="566"/>
                    <a:pt x="666" y="565"/>
                  </a:cubicBezTo>
                  <a:cubicBezTo>
                    <a:pt x="669" y="561"/>
                    <a:pt x="671" y="556"/>
                    <a:pt x="674" y="552"/>
                  </a:cubicBezTo>
                  <a:cubicBezTo>
                    <a:pt x="709" y="558"/>
                    <a:pt x="744" y="563"/>
                    <a:pt x="779" y="570"/>
                  </a:cubicBezTo>
                  <a:cubicBezTo>
                    <a:pt x="785" y="555"/>
                    <a:pt x="790" y="540"/>
                    <a:pt x="795" y="523"/>
                  </a:cubicBezTo>
                  <a:cubicBezTo>
                    <a:pt x="796" y="520"/>
                    <a:pt x="798" y="516"/>
                    <a:pt x="799" y="511"/>
                  </a:cubicBezTo>
                  <a:cubicBezTo>
                    <a:pt x="800" y="507"/>
                    <a:pt x="800" y="503"/>
                    <a:pt x="803" y="498"/>
                  </a:cubicBezTo>
                  <a:cubicBezTo>
                    <a:pt x="805" y="482"/>
                    <a:pt x="809" y="466"/>
                    <a:pt x="810" y="451"/>
                  </a:cubicBezTo>
                  <a:cubicBezTo>
                    <a:pt x="778" y="437"/>
                    <a:pt x="744" y="426"/>
                    <a:pt x="711" y="413"/>
                  </a:cubicBezTo>
                  <a:lnTo>
                    <a:pt x="711" y="398"/>
                  </a:lnTo>
                  <a:cubicBezTo>
                    <a:pt x="711" y="383"/>
                    <a:pt x="710" y="367"/>
                    <a:pt x="706" y="352"/>
                  </a:cubicBezTo>
                  <a:cubicBezTo>
                    <a:pt x="705" y="341"/>
                    <a:pt x="701" y="330"/>
                    <a:pt x="699" y="318"/>
                  </a:cubicBezTo>
                  <a:cubicBezTo>
                    <a:pt x="728" y="298"/>
                    <a:pt x="756" y="277"/>
                    <a:pt x="784" y="256"/>
                  </a:cubicBezTo>
                  <a:lnTo>
                    <a:pt x="785" y="256"/>
                  </a:lnTo>
                  <a:cubicBezTo>
                    <a:pt x="770" y="218"/>
                    <a:pt x="750" y="183"/>
                    <a:pt x="723" y="151"/>
                  </a:cubicBezTo>
                  <a:lnTo>
                    <a:pt x="723" y="151"/>
                  </a:lnTo>
                  <a:cubicBezTo>
                    <a:pt x="690" y="165"/>
                    <a:pt x="659" y="180"/>
                    <a:pt x="628" y="195"/>
                  </a:cubicBezTo>
                  <a:cubicBezTo>
                    <a:pt x="619" y="186"/>
                    <a:pt x="610" y="177"/>
                    <a:pt x="601" y="170"/>
                  </a:cubicBezTo>
                  <a:cubicBezTo>
                    <a:pt x="590" y="161"/>
                    <a:pt x="579" y="152"/>
                    <a:pt x="566" y="146"/>
                  </a:cubicBezTo>
                  <a:cubicBezTo>
                    <a:pt x="563" y="142"/>
                    <a:pt x="557" y="140"/>
                    <a:pt x="554" y="137"/>
                  </a:cubicBezTo>
                  <a:cubicBezTo>
                    <a:pt x="559" y="102"/>
                    <a:pt x="565" y="67"/>
                    <a:pt x="570" y="32"/>
                  </a:cubicBezTo>
                  <a:cubicBezTo>
                    <a:pt x="555" y="26"/>
                    <a:pt x="539" y="20"/>
                    <a:pt x="523" y="15"/>
                  </a:cubicBezTo>
                  <a:cubicBezTo>
                    <a:pt x="519" y="13"/>
                    <a:pt x="514" y="12"/>
                    <a:pt x="510" y="12"/>
                  </a:cubicBezTo>
                  <a:close/>
                  <a:moveTo>
                    <a:pt x="278" y="480"/>
                  </a:moveTo>
                  <a:cubicBezTo>
                    <a:pt x="256" y="443"/>
                    <a:pt x="251" y="406"/>
                    <a:pt x="263" y="366"/>
                  </a:cubicBezTo>
                  <a:cubicBezTo>
                    <a:pt x="273" y="326"/>
                    <a:pt x="296" y="296"/>
                    <a:pt x="333" y="275"/>
                  </a:cubicBezTo>
                  <a:cubicBezTo>
                    <a:pt x="368" y="255"/>
                    <a:pt x="406" y="250"/>
                    <a:pt x="445" y="260"/>
                  </a:cubicBezTo>
                  <a:cubicBezTo>
                    <a:pt x="485" y="271"/>
                    <a:pt x="516" y="293"/>
                    <a:pt x="536" y="330"/>
                  </a:cubicBezTo>
                  <a:cubicBezTo>
                    <a:pt x="558" y="366"/>
                    <a:pt x="563" y="403"/>
                    <a:pt x="551" y="443"/>
                  </a:cubicBezTo>
                  <a:cubicBezTo>
                    <a:pt x="541" y="483"/>
                    <a:pt x="518" y="513"/>
                    <a:pt x="483" y="533"/>
                  </a:cubicBezTo>
                  <a:cubicBezTo>
                    <a:pt x="445" y="555"/>
                    <a:pt x="408" y="559"/>
                    <a:pt x="369" y="548"/>
                  </a:cubicBezTo>
                  <a:cubicBezTo>
                    <a:pt x="329" y="538"/>
                    <a:pt x="298" y="515"/>
                    <a:pt x="278" y="480"/>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chemeClr val="tx1"/>
                  </a:solidFill>
                </a:ln>
                <a:solidFill>
                  <a:prstClr val="black"/>
                </a:solidFill>
                <a:effectLst/>
                <a:uLnTx/>
                <a:uFillTx/>
                <a:latin typeface="Calibri" panose="020F0502020204030204"/>
                <a:ea typeface="+mn-ea"/>
                <a:cs typeface="+mn-cs"/>
              </a:endParaRPr>
            </a:p>
          </p:txBody>
        </p:sp>
        <p:sp>
          <p:nvSpPr>
            <p:cNvPr id="9" name="Gears">
              <a:extLst>
                <a:ext uri="{FF2B5EF4-FFF2-40B4-BE49-F238E27FC236}">
                  <a16:creationId xmlns:a16="http://schemas.microsoft.com/office/drawing/2014/main" id="{5BE56364-9581-4E3F-B202-21708C5960E7}"/>
                </a:ext>
              </a:extLst>
            </p:cNvPr>
            <p:cNvSpPr>
              <a:spLocks noEditPoints="1"/>
            </p:cNvSpPr>
            <p:nvPr>
              <p:custDataLst>
                <p:tags r:id="rId5"/>
              </p:custDataLst>
            </p:nvPr>
          </p:nvSpPr>
          <p:spPr bwMode="auto">
            <a:xfrm>
              <a:off x="115" y="273"/>
              <a:ext cx="104" cy="104"/>
            </a:xfrm>
            <a:custGeom>
              <a:avLst/>
              <a:gdLst>
                <a:gd name="T0" fmla="*/ 10 w 266"/>
                <a:gd name="T1" fmla="*/ 101 h 266"/>
                <a:gd name="T2" fmla="*/ 21 w 266"/>
                <a:gd name="T3" fmla="*/ 197 h 266"/>
                <a:gd name="T4" fmla="*/ 23 w 266"/>
                <a:gd name="T5" fmla="*/ 197 h 266"/>
                <a:gd name="T6" fmla="*/ 100 w 266"/>
                <a:gd name="T7" fmla="*/ 257 h 266"/>
                <a:gd name="T8" fmla="*/ 197 w 266"/>
                <a:gd name="T9" fmla="*/ 245 h 266"/>
                <a:gd name="T10" fmla="*/ 197 w 266"/>
                <a:gd name="T11" fmla="*/ 245 h 266"/>
                <a:gd name="T12" fmla="*/ 257 w 266"/>
                <a:gd name="T13" fmla="*/ 167 h 266"/>
                <a:gd name="T14" fmla="*/ 257 w 266"/>
                <a:gd name="T15" fmla="*/ 166 h 266"/>
                <a:gd name="T16" fmla="*/ 244 w 266"/>
                <a:gd name="T17" fmla="*/ 70 h 266"/>
                <a:gd name="T18" fmla="*/ 166 w 266"/>
                <a:gd name="T19" fmla="*/ 10 h 266"/>
                <a:gd name="T20" fmla="*/ 69 w 266"/>
                <a:gd name="T21" fmla="*/ 22 h 266"/>
                <a:gd name="T22" fmla="*/ 10 w 266"/>
                <a:gd name="T23" fmla="*/ 101 h 266"/>
                <a:gd name="T24" fmla="*/ 85 w 266"/>
                <a:gd name="T25" fmla="*/ 51 h 266"/>
                <a:gd name="T26" fmla="*/ 158 w 266"/>
                <a:gd name="T27" fmla="*/ 41 h 266"/>
                <a:gd name="T28" fmla="*/ 216 w 266"/>
                <a:gd name="T29" fmla="*/ 86 h 266"/>
                <a:gd name="T30" fmla="*/ 226 w 266"/>
                <a:gd name="T31" fmla="*/ 159 h 266"/>
                <a:gd name="T32" fmla="*/ 181 w 266"/>
                <a:gd name="T33" fmla="*/ 216 h 266"/>
                <a:gd name="T34" fmla="*/ 181 w 266"/>
                <a:gd name="T35" fmla="*/ 217 h 266"/>
                <a:gd name="T36" fmla="*/ 109 w 266"/>
                <a:gd name="T37" fmla="*/ 226 h 266"/>
                <a:gd name="T38" fmla="*/ 50 w 266"/>
                <a:gd name="T39" fmla="*/ 181 h 266"/>
                <a:gd name="T40" fmla="*/ 40 w 266"/>
                <a:gd name="T41" fmla="*/ 109 h 266"/>
                <a:gd name="T42" fmla="*/ 85 w 266"/>
                <a:gd name="T43" fmla="*/ 5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6" h="266">
                  <a:moveTo>
                    <a:pt x="10" y="101"/>
                  </a:moveTo>
                  <a:cubicBezTo>
                    <a:pt x="0" y="135"/>
                    <a:pt x="4" y="167"/>
                    <a:pt x="21" y="197"/>
                  </a:cubicBezTo>
                  <a:lnTo>
                    <a:pt x="23" y="197"/>
                  </a:lnTo>
                  <a:cubicBezTo>
                    <a:pt x="40" y="228"/>
                    <a:pt x="66" y="247"/>
                    <a:pt x="100" y="257"/>
                  </a:cubicBezTo>
                  <a:cubicBezTo>
                    <a:pt x="134" y="266"/>
                    <a:pt x="166" y="262"/>
                    <a:pt x="197" y="245"/>
                  </a:cubicBezTo>
                  <a:lnTo>
                    <a:pt x="197" y="245"/>
                  </a:lnTo>
                  <a:cubicBezTo>
                    <a:pt x="229" y="226"/>
                    <a:pt x="248" y="201"/>
                    <a:pt x="257" y="167"/>
                  </a:cubicBezTo>
                  <a:lnTo>
                    <a:pt x="257" y="166"/>
                  </a:lnTo>
                  <a:cubicBezTo>
                    <a:pt x="266" y="132"/>
                    <a:pt x="261" y="100"/>
                    <a:pt x="244" y="70"/>
                  </a:cubicBezTo>
                  <a:cubicBezTo>
                    <a:pt x="226" y="38"/>
                    <a:pt x="200" y="18"/>
                    <a:pt x="166" y="10"/>
                  </a:cubicBezTo>
                  <a:cubicBezTo>
                    <a:pt x="132" y="0"/>
                    <a:pt x="99" y="5"/>
                    <a:pt x="69" y="22"/>
                  </a:cubicBezTo>
                  <a:cubicBezTo>
                    <a:pt x="38" y="40"/>
                    <a:pt x="19" y="66"/>
                    <a:pt x="10" y="101"/>
                  </a:cubicBezTo>
                  <a:close/>
                  <a:moveTo>
                    <a:pt x="85" y="51"/>
                  </a:moveTo>
                  <a:cubicBezTo>
                    <a:pt x="109" y="37"/>
                    <a:pt x="133" y="34"/>
                    <a:pt x="158" y="41"/>
                  </a:cubicBezTo>
                  <a:cubicBezTo>
                    <a:pt x="183" y="47"/>
                    <a:pt x="203" y="62"/>
                    <a:pt x="216" y="86"/>
                  </a:cubicBezTo>
                  <a:cubicBezTo>
                    <a:pt x="230" y="109"/>
                    <a:pt x="233" y="134"/>
                    <a:pt x="226" y="159"/>
                  </a:cubicBezTo>
                  <a:cubicBezTo>
                    <a:pt x="219" y="184"/>
                    <a:pt x="204" y="203"/>
                    <a:pt x="181" y="216"/>
                  </a:cubicBezTo>
                  <a:lnTo>
                    <a:pt x="181" y="217"/>
                  </a:lnTo>
                  <a:cubicBezTo>
                    <a:pt x="158" y="230"/>
                    <a:pt x="134" y="233"/>
                    <a:pt x="109" y="226"/>
                  </a:cubicBezTo>
                  <a:cubicBezTo>
                    <a:pt x="83" y="220"/>
                    <a:pt x="64" y="205"/>
                    <a:pt x="50" y="181"/>
                  </a:cubicBezTo>
                  <a:cubicBezTo>
                    <a:pt x="38" y="159"/>
                    <a:pt x="34" y="135"/>
                    <a:pt x="40" y="109"/>
                  </a:cubicBezTo>
                  <a:cubicBezTo>
                    <a:pt x="48" y="84"/>
                    <a:pt x="63" y="65"/>
                    <a:pt x="85" y="51"/>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chemeClr val="tx1"/>
                  </a:solidFill>
                </a:ln>
                <a:solidFill>
                  <a:prstClr val="black"/>
                </a:solidFill>
                <a:effectLst/>
                <a:uLnTx/>
                <a:uFillTx/>
                <a:latin typeface="Calibri" panose="020F0502020204030204"/>
                <a:ea typeface="+mn-ea"/>
                <a:cs typeface="+mn-cs"/>
              </a:endParaRPr>
            </a:p>
          </p:txBody>
        </p:sp>
      </p:grpSp>
      <p:sp>
        <p:nvSpPr>
          <p:cNvPr id="22" name="Title 1">
            <a:extLst>
              <a:ext uri="{FF2B5EF4-FFF2-40B4-BE49-F238E27FC236}">
                <a16:creationId xmlns:a16="http://schemas.microsoft.com/office/drawing/2014/main" id="{7117A00C-A091-4CCF-BF52-A75431671989}"/>
              </a:ext>
            </a:extLst>
          </p:cNvPr>
          <p:cNvSpPr txBox="1">
            <a:spLocks/>
          </p:cNvSpPr>
          <p:nvPr/>
        </p:nvSpPr>
        <p:spPr>
          <a:xfrm>
            <a:off x="11178600" y="2638745"/>
            <a:ext cx="9144000" cy="138840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SG" sz="9600" dirty="0">
                <a:solidFill>
                  <a:schemeClr val="bg1"/>
                </a:solidFill>
                <a:latin typeface="Bebas Neue" panose="020B0606020202050201" pitchFamily="34" charset="0"/>
              </a:rPr>
              <a:t>3 MACHINES, 1 SYSTEM </a:t>
            </a:r>
          </a:p>
        </p:txBody>
      </p:sp>
    </p:spTree>
    <p:extLst>
      <p:ext uri="{BB962C8B-B14F-4D97-AF65-F5344CB8AC3E}">
        <p14:creationId xmlns:p14="http://schemas.microsoft.com/office/powerpoint/2010/main" val="4244867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300" fill="hold"/>
                                        <p:tgtEl>
                                          <p:spTgt spid="5"/>
                                        </p:tgtEl>
                                        <p:attrNameLst>
                                          <p:attrName>ppt_x</p:attrName>
                                        </p:attrNameLst>
                                      </p:cBhvr>
                                      <p:tavLst>
                                        <p:tav tm="0">
                                          <p:val>
                                            <p:strVal val="0-#ppt_w/2"/>
                                          </p:val>
                                        </p:tav>
                                        <p:tav tm="100000">
                                          <p:val>
                                            <p:strVal val="#ppt_x"/>
                                          </p:val>
                                        </p:tav>
                                      </p:tavLst>
                                    </p:anim>
                                    <p:anim calcmode="lin" valueType="num">
                                      <p:cBhvr additive="base">
                                        <p:cTn id="8" dur="3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1" decel="6600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300" fill="hold"/>
                                        <p:tgtEl>
                                          <p:spTgt spid="14"/>
                                        </p:tgtEl>
                                        <p:attrNameLst>
                                          <p:attrName>ppt_x</p:attrName>
                                        </p:attrNameLst>
                                      </p:cBhvr>
                                      <p:tavLst>
                                        <p:tav tm="0">
                                          <p:val>
                                            <p:strVal val="#ppt_x"/>
                                          </p:val>
                                        </p:tav>
                                        <p:tav tm="100000">
                                          <p:val>
                                            <p:strVal val="#ppt_x"/>
                                          </p:val>
                                        </p:tav>
                                      </p:tavLst>
                                    </p:anim>
                                    <p:anim calcmode="lin" valueType="num">
                                      <p:cBhvr additive="base">
                                        <p:cTn id="12" dur="300" fill="hold"/>
                                        <p:tgtEl>
                                          <p:spTgt spid="14"/>
                                        </p:tgtEl>
                                        <p:attrNameLst>
                                          <p:attrName>ppt_y</p:attrName>
                                        </p:attrNameLst>
                                      </p:cBhvr>
                                      <p:tavLst>
                                        <p:tav tm="0">
                                          <p:val>
                                            <p:strVal val="0-#ppt_h/2"/>
                                          </p:val>
                                        </p:tav>
                                        <p:tav tm="100000">
                                          <p:val>
                                            <p:strVal val="#ppt_y"/>
                                          </p:val>
                                        </p:tav>
                                      </p:tavLst>
                                    </p:anim>
                                  </p:childTnLst>
                                </p:cTn>
                              </p:par>
                              <p:par>
                                <p:cTn id="13" presetID="2" presetClass="entr" presetSubtype="4" decel="66667"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300" fill="hold"/>
                                        <p:tgtEl>
                                          <p:spTgt spid="15"/>
                                        </p:tgtEl>
                                        <p:attrNameLst>
                                          <p:attrName>ppt_x</p:attrName>
                                        </p:attrNameLst>
                                      </p:cBhvr>
                                      <p:tavLst>
                                        <p:tav tm="0">
                                          <p:val>
                                            <p:strVal val="#ppt_x"/>
                                          </p:val>
                                        </p:tav>
                                        <p:tav tm="100000">
                                          <p:val>
                                            <p:strVal val="#ppt_x"/>
                                          </p:val>
                                        </p:tav>
                                      </p:tavLst>
                                    </p:anim>
                                    <p:anim calcmode="lin" valueType="num">
                                      <p:cBhvr additive="base">
                                        <p:cTn id="16" dur="300" fill="hold"/>
                                        <p:tgtEl>
                                          <p:spTgt spid="15"/>
                                        </p:tgtEl>
                                        <p:attrNameLst>
                                          <p:attrName>ppt_y</p:attrName>
                                        </p:attrNameLst>
                                      </p:cBhvr>
                                      <p:tavLst>
                                        <p:tav tm="0">
                                          <p:val>
                                            <p:strVal val="1+#ppt_h/2"/>
                                          </p:val>
                                        </p:tav>
                                        <p:tav tm="100000">
                                          <p:val>
                                            <p:strVal val="#ppt_y"/>
                                          </p:val>
                                        </p:tav>
                                      </p:tavLst>
                                    </p:anim>
                                  </p:childTnLst>
                                </p:cTn>
                              </p:par>
                            </p:childTnLst>
                          </p:cTn>
                        </p:par>
                        <p:par>
                          <p:cTn id="17" fill="hold">
                            <p:stCondLst>
                              <p:cond delay="300"/>
                            </p:stCondLst>
                            <p:childTnLst>
                              <p:par>
                                <p:cTn id="18" presetID="1" presetClass="entr" presetSubtype="0" fill="hold" grpId="0" nodeType="afterEffect">
                                  <p:stCondLst>
                                    <p:cond delay="0"/>
                                  </p:stCondLst>
                                  <p:iterate type="lt">
                                    <p:tmAbs val="50"/>
                                  </p:iterate>
                                  <p:childTnLst>
                                    <p:set>
                                      <p:cBhvr>
                                        <p:cTn id="19" dur="1" fill="hold">
                                          <p:stCondLst>
                                            <p:cond delay="0"/>
                                          </p:stCondLst>
                                        </p:cTn>
                                        <p:tgtEl>
                                          <p:spTgt spid="11"/>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2" presetClass="entr" presetSubtype="2" decel="66667" fill="hold" grpId="0" nodeType="clickEffect">
                                  <p:stCondLst>
                                    <p:cond delay="0"/>
                                  </p:stCondLst>
                                  <p:childTnLst>
                                    <p:set>
                                      <p:cBhvr>
                                        <p:cTn id="23" dur="1" fill="hold">
                                          <p:stCondLst>
                                            <p:cond delay="0"/>
                                          </p:stCondLst>
                                        </p:cTn>
                                        <p:tgtEl>
                                          <p:spTgt spid="22"/>
                                        </p:tgtEl>
                                        <p:attrNameLst>
                                          <p:attrName>style.visibility</p:attrName>
                                        </p:attrNameLst>
                                      </p:cBhvr>
                                      <p:to>
                                        <p:strVal val="visible"/>
                                      </p:to>
                                    </p:set>
                                    <p:anim calcmode="lin" valueType="num">
                                      <p:cBhvr additive="base">
                                        <p:cTn id="24" dur="300" fill="hold"/>
                                        <p:tgtEl>
                                          <p:spTgt spid="22"/>
                                        </p:tgtEl>
                                        <p:attrNameLst>
                                          <p:attrName>ppt_x</p:attrName>
                                        </p:attrNameLst>
                                      </p:cBhvr>
                                      <p:tavLst>
                                        <p:tav tm="0">
                                          <p:val>
                                            <p:strVal val="1+#ppt_w/2"/>
                                          </p:val>
                                        </p:tav>
                                        <p:tav tm="100000">
                                          <p:val>
                                            <p:strVal val="#ppt_x"/>
                                          </p:val>
                                        </p:tav>
                                      </p:tavLst>
                                    </p:anim>
                                    <p:anim calcmode="lin" valueType="num">
                                      <p:cBhvr additive="base">
                                        <p:cTn id="25" dur="30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a:extLst>
              <a:ext uri="{FF2B5EF4-FFF2-40B4-BE49-F238E27FC236}">
                <a16:creationId xmlns:a16="http://schemas.microsoft.com/office/drawing/2014/main" id="{2579A21B-BDFE-43C9-B47C-57F4AB05168C}"/>
              </a:ext>
            </a:extLst>
          </p:cNvPr>
          <p:cNvGrpSpPr/>
          <p:nvPr/>
        </p:nvGrpSpPr>
        <p:grpSpPr>
          <a:xfrm>
            <a:off x="9870097" y="1889116"/>
            <a:ext cx="1824405" cy="1844296"/>
            <a:chOff x="8784532" y="3105589"/>
            <a:chExt cx="2060688" cy="2083155"/>
          </a:xfrm>
        </p:grpSpPr>
        <p:sp>
          <p:nvSpPr>
            <p:cNvPr id="37" name="Rectangle: Rounded Corners 36">
              <a:extLst>
                <a:ext uri="{FF2B5EF4-FFF2-40B4-BE49-F238E27FC236}">
                  <a16:creationId xmlns:a16="http://schemas.microsoft.com/office/drawing/2014/main" id="{DDB3453F-18D9-435B-A561-0FB001347FCA}"/>
                </a:ext>
              </a:extLst>
            </p:cNvPr>
            <p:cNvSpPr/>
            <p:nvPr/>
          </p:nvSpPr>
          <p:spPr>
            <a:xfrm>
              <a:off x="9058963" y="3932385"/>
              <a:ext cx="1511826" cy="465883"/>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pic>
          <p:nvPicPr>
            <p:cNvPr id="38" name="Graphic 37">
              <a:extLst>
                <a:ext uri="{FF2B5EF4-FFF2-40B4-BE49-F238E27FC236}">
                  <a16:creationId xmlns:a16="http://schemas.microsoft.com/office/drawing/2014/main" id="{F395BBFD-EC88-4A1A-AA7A-A9C2309FA9CD}"/>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b="19128"/>
            <a:stretch/>
          </p:blipFill>
          <p:spPr>
            <a:xfrm>
              <a:off x="8784532" y="3105589"/>
              <a:ext cx="2060688" cy="2083155"/>
            </a:xfrm>
            <a:prstGeom prst="rect">
              <a:avLst/>
            </a:prstGeom>
          </p:spPr>
        </p:pic>
        <p:pic>
          <p:nvPicPr>
            <p:cNvPr id="41" name="Graphic 40">
              <a:extLst>
                <a:ext uri="{FF2B5EF4-FFF2-40B4-BE49-F238E27FC236}">
                  <a16:creationId xmlns:a16="http://schemas.microsoft.com/office/drawing/2014/main" id="{ECAD6CBE-5DB8-4C95-9E70-F3E41D688DFF}"/>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098523" y="4073347"/>
              <a:ext cx="146980" cy="150110"/>
            </a:xfrm>
            <a:prstGeom prst="rect">
              <a:avLst/>
            </a:prstGeom>
          </p:spPr>
        </p:pic>
        <p:pic>
          <p:nvPicPr>
            <p:cNvPr id="42" name="Graphic 41">
              <a:extLst>
                <a:ext uri="{FF2B5EF4-FFF2-40B4-BE49-F238E27FC236}">
                  <a16:creationId xmlns:a16="http://schemas.microsoft.com/office/drawing/2014/main" id="{F84BA601-A82A-46F7-B353-74974E33CEF5}"/>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101607" y="4215471"/>
              <a:ext cx="148564" cy="139585"/>
            </a:xfrm>
            <a:prstGeom prst="rect">
              <a:avLst/>
            </a:prstGeom>
          </p:spPr>
        </p:pic>
        <p:pic>
          <p:nvPicPr>
            <p:cNvPr id="43" name="Graphic 42">
              <a:extLst>
                <a:ext uri="{FF2B5EF4-FFF2-40B4-BE49-F238E27FC236}">
                  <a16:creationId xmlns:a16="http://schemas.microsoft.com/office/drawing/2014/main" id="{72D3C7EA-575D-40C5-BC9F-806348A1B2A6}"/>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315264" y="4078290"/>
              <a:ext cx="146980" cy="150110"/>
            </a:xfrm>
            <a:prstGeom prst="rect">
              <a:avLst/>
            </a:prstGeom>
          </p:spPr>
        </p:pic>
        <p:pic>
          <p:nvPicPr>
            <p:cNvPr id="44" name="Graphic 43">
              <a:extLst>
                <a:ext uri="{FF2B5EF4-FFF2-40B4-BE49-F238E27FC236}">
                  <a16:creationId xmlns:a16="http://schemas.microsoft.com/office/drawing/2014/main" id="{2A444E9D-2834-4D38-84BE-20890F5C8F09}"/>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315882" y="4204776"/>
              <a:ext cx="146980" cy="150110"/>
            </a:xfrm>
            <a:prstGeom prst="rect">
              <a:avLst/>
            </a:prstGeom>
          </p:spPr>
        </p:pic>
        <p:pic>
          <p:nvPicPr>
            <p:cNvPr id="45" name="Graphic 44">
              <a:extLst>
                <a:ext uri="{FF2B5EF4-FFF2-40B4-BE49-F238E27FC236}">
                  <a16:creationId xmlns:a16="http://schemas.microsoft.com/office/drawing/2014/main" id="{4E2EDEDA-0E81-4EFD-882A-D13ECBA4E1F4}"/>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317712" y="3953555"/>
              <a:ext cx="148564" cy="139585"/>
            </a:xfrm>
            <a:prstGeom prst="rect">
              <a:avLst/>
            </a:prstGeom>
          </p:spPr>
        </p:pic>
        <p:pic>
          <p:nvPicPr>
            <p:cNvPr id="46" name="Graphic 45">
              <a:extLst>
                <a:ext uri="{FF2B5EF4-FFF2-40B4-BE49-F238E27FC236}">
                  <a16:creationId xmlns:a16="http://schemas.microsoft.com/office/drawing/2014/main" id="{CC58353B-79B5-420D-8823-8FA172DA7F5D}"/>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156865" y="4204776"/>
              <a:ext cx="146980" cy="150110"/>
            </a:xfrm>
            <a:prstGeom prst="rect">
              <a:avLst/>
            </a:prstGeom>
          </p:spPr>
        </p:pic>
        <p:pic>
          <p:nvPicPr>
            <p:cNvPr id="47" name="Graphic 46">
              <a:extLst>
                <a:ext uri="{FF2B5EF4-FFF2-40B4-BE49-F238E27FC236}">
                  <a16:creationId xmlns:a16="http://schemas.microsoft.com/office/drawing/2014/main" id="{50EE6759-D249-48A7-AF60-CA12D192E101}"/>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161428" y="3946861"/>
              <a:ext cx="146980" cy="150110"/>
            </a:xfrm>
            <a:prstGeom prst="rect">
              <a:avLst/>
            </a:prstGeom>
          </p:spPr>
        </p:pic>
        <p:pic>
          <p:nvPicPr>
            <p:cNvPr id="48" name="Graphic 47">
              <a:extLst>
                <a:ext uri="{FF2B5EF4-FFF2-40B4-BE49-F238E27FC236}">
                  <a16:creationId xmlns:a16="http://schemas.microsoft.com/office/drawing/2014/main" id="{1C037861-1654-47F5-8D0F-24F6CACA382B}"/>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10159313" y="4083872"/>
              <a:ext cx="148564" cy="139585"/>
            </a:xfrm>
            <a:prstGeom prst="rect">
              <a:avLst/>
            </a:prstGeom>
          </p:spPr>
        </p:pic>
        <p:pic>
          <p:nvPicPr>
            <p:cNvPr id="49" name="Graphic 48">
              <a:extLst>
                <a:ext uri="{FF2B5EF4-FFF2-40B4-BE49-F238E27FC236}">
                  <a16:creationId xmlns:a16="http://schemas.microsoft.com/office/drawing/2014/main" id="{04E669B7-63B8-4D8D-8514-0F3CC4DE7BA1}"/>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376111" y="4080751"/>
              <a:ext cx="146980" cy="150110"/>
            </a:xfrm>
            <a:prstGeom prst="rect">
              <a:avLst/>
            </a:prstGeom>
          </p:spPr>
        </p:pic>
        <p:pic>
          <p:nvPicPr>
            <p:cNvPr id="50" name="Graphic 49">
              <a:extLst>
                <a:ext uri="{FF2B5EF4-FFF2-40B4-BE49-F238E27FC236}">
                  <a16:creationId xmlns:a16="http://schemas.microsoft.com/office/drawing/2014/main" id="{E0498B9D-396F-4986-AEE9-DE47C1C8DA64}"/>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10376729" y="4207237"/>
              <a:ext cx="146980" cy="150110"/>
            </a:xfrm>
            <a:prstGeom prst="rect">
              <a:avLst/>
            </a:prstGeom>
          </p:spPr>
        </p:pic>
        <p:pic>
          <p:nvPicPr>
            <p:cNvPr id="51" name="Graphic 50">
              <a:extLst>
                <a:ext uri="{FF2B5EF4-FFF2-40B4-BE49-F238E27FC236}">
                  <a16:creationId xmlns:a16="http://schemas.microsoft.com/office/drawing/2014/main" id="{14D8CADD-3A04-447D-AD39-A7DEEB264305}"/>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10378559" y="3956016"/>
              <a:ext cx="148564" cy="139585"/>
            </a:xfrm>
            <a:prstGeom prst="rect">
              <a:avLst/>
            </a:prstGeom>
          </p:spPr>
        </p:pic>
        <p:pic>
          <p:nvPicPr>
            <p:cNvPr id="52" name="Graphic 51">
              <a:extLst>
                <a:ext uri="{FF2B5EF4-FFF2-40B4-BE49-F238E27FC236}">
                  <a16:creationId xmlns:a16="http://schemas.microsoft.com/office/drawing/2014/main" id="{BC9DBF9D-AB66-4B09-99A8-3A6BD075C9CA}"/>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945731" y="3950563"/>
              <a:ext cx="148564" cy="139585"/>
            </a:xfrm>
            <a:prstGeom prst="rect">
              <a:avLst/>
            </a:prstGeom>
          </p:spPr>
        </p:pic>
        <p:pic>
          <p:nvPicPr>
            <p:cNvPr id="53" name="Graphic 52">
              <a:extLst>
                <a:ext uri="{FF2B5EF4-FFF2-40B4-BE49-F238E27FC236}">
                  <a16:creationId xmlns:a16="http://schemas.microsoft.com/office/drawing/2014/main" id="{AD69984B-A523-4071-83AD-BD6701BE266B}"/>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945731" y="4082891"/>
              <a:ext cx="148564" cy="139585"/>
            </a:xfrm>
            <a:prstGeom prst="rect">
              <a:avLst/>
            </a:prstGeom>
          </p:spPr>
        </p:pic>
        <p:pic>
          <p:nvPicPr>
            <p:cNvPr id="54" name="Graphic 53">
              <a:extLst>
                <a:ext uri="{FF2B5EF4-FFF2-40B4-BE49-F238E27FC236}">
                  <a16:creationId xmlns:a16="http://schemas.microsoft.com/office/drawing/2014/main" id="{1C77A128-2A95-4B4C-84B5-0E521C35CDF9}"/>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951806" y="4212173"/>
              <a:ext cx="146980" cy="150110"/>
            </a:xfrm>
            <a:prstGeom prst="rect">
              <a:avLst/>
            </a:prstGeom>
          </p:spPr>
        </p:pic>
        <p:pic>
          <p:nvPicPr>
            <p:cNvPr id="55" name="Graphic 54">
              <a:extLst>
                <a:ext uri="{FF2B5EF4-FFF2-40B4-BE49-F238E27FC236}">
                  <a16:creationId xmlns:a16="http://schemas.microsoft.com/office/drawing/2014/main" id="{BD297632-5C26-4D61-A8E8-7F0945984C79}"/>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731890" y="4217435"/>
              <a:ext cx="148564" cy="139585"/>
            </a:xfrm>
            <a:prstGeom prst="rect">
              <a:avLst/>
            </a:prstGeom>
          </p:spPr>
        </p:pic>
        <p:pic>
          <p:nvPicPr>
            <p:cNvPr id="56" name="Graphic 55">
              <a:extLst>
                <a:ext uri="{FF2B5EF4-FFF2-40B4-BE49-F238E27FC236}">
                  <a16:creationId xmlns:a16="http://schemas.microsoft.com/office/drawing/2014/main" id="{F05A87D5-B131-4E4A-B24C-2D91803C301A}"/>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737686" y="3950194"/>
              <a:ext cx="148564" cy="139585"/>
            </a:xfrm>
            <a:prstGeom prst="rect">
              <a:avLst/>
            </a:prstGeom>
          </p:spPr>
        </p:pic>
        <p:pic>
          <p:nvPicPr>
            <p:cNvPr id="57" name="Graphic 56">
              <a:extLst>
                <a:ext uri="{FF2B5EF4-FFF2-40B4-BE49-F238E27FC236}">
                  <a16:creationId xmlns:a16="http://schemas.microsoft.com/office/drawing/2014/main" id="{6C8691D7-C119-422B-97A2-A9D211343E1E}"/>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737666" y="4078556"/>
              <a:ext cx="146980" cy="150110"/>
            </a:xfrm>
            <a:prstGeom prst="rect">
              <a:avLst/>
            </a:prstGeom>
          </p:spPr>
        </p:pic>
        <p:pic>
          <p:nvPicPr>
            <p:cNvPr id="58" name="Graphic 57">
              <a:extLst>
                <a:ext uri="{FF2B5EF4-FFF2-40B4-BE49-F238E27FC236}">
                  <a16:creationId xmlns:a16="http://schemas.microsoft.com/office/drawing/2014/main" id="{D4DF0756-DB24-4708-8ABA-069E395EFB5E}"/>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519304" y="4217169"/>
              <a:ext cx="148564" cy="139585"/>
            </a:xfrm>
            <a:prstGeom prst="rect">
              <a:avLst/>
            </a:prstGeom>
          </p:spPr>
        </p:pic>
        <p:pic>
          <p:nvPicPr>
            <p:cNvPr id="59" name="Graphic 58">
              <a:extLst>
                <a:ext uri="{FF2B5EF4-FFF2-40B4-BE49-F238E27FC236}">
                  <a16:creationId xmlns:a16="http://schemas.microsoft.com/office/drawing/2014/main" id="{4D63E911-F05F-4916-A8F6-BC0957A8C2C6}"/>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53569" t="7198" r="15603" b="69353"/>
            <a:stretch/>
          </p:blipFill>
          <p:spPr>
            <a:xfrm>
              <a:off x="9525100" y="3949928"/>
              <a:ext cx="148564" cy="139585"/>
            </a:xfrm>
            <a:prstGeom prst="rect">
              <a:avLst/>
            </a:prstGeom>
          </p:spPr>
        </p:pic>
        <p:pic>
          <p:nvPicPr>
            <p:cNvPr id="60" name="Graphic 59">
              <a:extLst>
                <a:ext uri="{FF2B5EF4-FFF2-40B4-BE49-F238E27FC236}">
                  <a16:creationId xmlns:a16="http://schemas.microsoft.com/office/drawing/2014/main" id="{E87E2351-9D69-4196-AC40-C126F07C4787}"/>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55147" t="7303" r="17721" b="70266"/>
            <a:stretch/>
          </p:blipFill>
          <p:spPr>
            <a:xfrm>
              <a:off x="9525080" y="4078290"/>
              <a:ext cx="146980" cy="150110"/>
            </a:xfrm>
            <a:prstGeom prst="rect">
              <a:avLst/>
            </a:prstGeom>
          </p:spPr>
        </p:pic>
      </p:grpSp>
      <p:sp>
        <p:nvSpPr>
          <p:cNvPr id="62" name="Rectangle 61">
            <a:extLst>
              <a:ext uri="{FF2B5EF4-FFF2-40B4-BE49-F238E27FC236}">
                <a16:creationId xmlns:a16="http://schemas.microsoft.com/office/drawing/2014/main" id="{48DFE52D-A65A-4DE5-9141-C8C18039FC28}"/>
              </a:ext>
            </a:extLst>
          </p:cNvPr>
          <p:cNvSpPr/>
          <p:nvPr/>
        </p:nvSpPr>
        <p:spPr>
          <a:xfrm>
            <a:off x="2404997" y="0"/>
            <a:ext cx="5523978" cy="658869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dirty="0"/>
          </a:p>
        </p:txBody>
      </p:sp>
      <p:pic>
        <p:nvPicPr>
          <p:cNvPr id="4" name="Graphic 3">
            <a:extLst>
              <a:ext uri="{FF2B5EF4-FFF2-40B4-BE49-F238E27FC236}">
                <a16:creationId xmlns:a16="http://schemas.microsoft.com/office/drawing/2014/main" id="{4ECC20C5-AC41-41A4-BB51-4DDDC4C20631}"/>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23600"/>
          <a:stretch/>
        </p:blipFill>
        <p:spPr>
          <a:xfrm>
            <a:off x="3890332" y="2054363"/>
            <a:ext cx="4411340" cy="4209840"/>
          </a:xfrm>
          <a:prstGeom prst="rect">
            <a:avLst/>
          </a:prstGeom>
        </p:spPr>
      </p:pic>
      <p:pic>
        <p:nvPicPr>
          <p:cNvPr id="6" name="Picture 2" descr="May be an image of text that says '3lAgytech Simplifying Engineering'">
            <a:extLst>
              <a:ext uri="{FF2B5EF4-FFF2-40B4-BE49-F238E27FC236}">
                <a16:creationId xmlns:a16="http://schemas.microsoft.com/office/drawing/2014/main" id="{EA11242B-33A5-4485-BB9E-F75166952C62}"/>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pic>
        <p:nvPicPr>
          <p:cNvPr id="35" name="Graphic 34">
            <a:extLst>
              <a:ext uri="{FF2B5EF4-FFF2-40B4-BE49-F238E27FC236}">
                <a16:creationId xmlns:a16="http://schemas.microsoft.com/office/drawing/2014/main" id="{E662C6F4-CD2F-4496-8927-99705AE28A6A}"/>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20237"/>
          <a:stretch/>
        </p:blipFill>
        <p:spPr>
          <a:xfrm>
            <a:off x="5694876" y="1146557"/>
            <a:ext cx="802245" cy="799863"/>
          </a:xfrm>
          <a:prstGeom prst="rect">
            <a:avLst/>
          </a:prstGeom>
        </p:spPr>
      </p:pic>
      <p:pic>
        <p:nvPicPr>
          <p:cNvPr id="5" name="Graphic 4">
            <a:extLst>
              <a:ext uri="{FF2B5EF4-FFF2-40B4-BE49-F238E27FC236}">
                <a16:creationId xmlns:a16="http://schemas.microsoft.com/office/drawing/2014/main" id="{1DBD61F0-7028-4790-B1B0-F8DE51A07CEA}"/>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20048"/>
          <a:stretch/>
        </p:blipFill>
        <p:spPr>
          <a:xfrm>
            <a:off x="4986599" y="593796"/>
            <a:ext cx="2218800" cy="2217468"/>
          </a:xfrm>
          <a:prstGeom prst="rect">
            <a:avLst/>
          </a:prstGeom>
        </p:spPr>
      </p:pic>
      <p:pic>
        <p:nvPicPr>
          <p:cNvPr id="61" name="Graphic 60">
            <a:extLst>
              <a:ext uri="{FF2B5EF4-FFF2-40B4-BE49-F238E27FC236}">
                <a16:creationId xmlns:a16="http://schemas.microsoft.com/office/drawing/2014/main" id="{B2203A8E-2026-4BCB-B408-4D8547A24F6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073231" y="2655048"/>
            <a:ext cx="437870" cy="547338"/>
          </a:xfrm>
          <a:prstGeom prst="rect">
            <a:avLst/>
          </a:prstGeom>
        </p:spPr>
      </p:pic>
      <p:grpSp>
        <p:nvGrpSpPr>
          <p:cNvPr id="63" name="Group 62">
            <a:extLst>
              <a:ext uri="{FF2B5EF4-FFF2-40B4-BE49-F238E27FC236}">
                <a16:creationId xmlns:a16="http://schemas.microsoft.com/office/drawing/2014/main" id="{857D2D98-413F-4282-9713-17838A3F6DDD}"/>
              </a:ext>
            </a:extLst>
          </p:cNvPr>
          <p:cNvGrpSpPr/>
          <p:nvPr/>
        </p:nvGrpSpPr>
        <p:grpSpPr>
          <a:xfrm>
            <a:off x="1235183" y="3333604"/>
            <a:ext cx="3451374" cy="1361460"/>
            <a:chOff x="1235183" y="3333604"/>
            <a:chExt cx="3451374" cy="1361460"/>
          </a:xfrm>
        </p:grpSpPr>
        <p:pic>
          <p:nvPicPr>
            <p:cNvPr id="64" name="Graphic 63">
              <a:extLst>
                <a:ext uri="{FF2B5EF4-FFF2-40B4-BE49-F238E27FC236}">
                  <a16:creationId xmlns:a16="http://schemas.microsoft.com/office/drawing/2014/main" id="{F7EE94F7-E92B-4BA5-BC2C-E130F303CC17}"/>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l="2472" t="13101" r="28" b="36217"/>
            <a:stretch/>
          </p:blipFill>
          <p:spPr>
            <a:xfrm rot="14205273" flipH="1">
              <a:off x="2934079" y="3857570"/>
              <a:ext cx="1071562" cy="603425"/>
            </a:xfrm>
            <a:prstGeom prst="rect">
              <a:avLst/>
            </a:prstGeom>
          </p:spPr>
        </p:pic>
        <p:sp>
          <p:nvSpPr>
            <p:cNvPr id="65" name="TextBox 64">
              <a:extLst>
                <a:ext uri="{FF2B5EF4-FFF2-40B4-BE49-F238E27FC236}">
                  <a16:creationId xmlns:a16="http://schemas.microsoft.com/office/drawing/2014/main" id="{962F72E2-3A1A-4182-9D35-DE9DF7861E7E}"/>
                </a:ext>
              </a:extLst>
            </p:cNvPr>
            <p:cNvSpPr txBox="1"/>
            <p:nvPr/>
          </p:nvSpPr>
          <p:spPr>
            <a:xfrm rot="21264721">
              <a:off x="1235183" y="3333604"/>
              <a:ext cx="3451374" cy="523220"/>
            </a:xfrm>
            <a:prstGeom prst="rect">
              <a:avLst/>
            </a:prstGeom>
            <a:noFill/>
          </p:spPr>
          <p:txBody>
            <a:bodyPr wrap="square" rtlCol="0">
              <a:spAutoFit/>
            </a:bodyPr>
            <a:lstStyle/>
            <a:p>
              <a:pPr algn="ctr"/>
              <a:r>
                <a:rPr lang="en-US" sz="2800" dirty="0">
                  <a:solidFill>
                    <a:schemeClr val="bg1"/>
                  </a:solidFill>
                  <a:latin typeface="Quicksand Bold" pitchFamily="50" charset="0"/>
                </a:rPr>
                <a:t>ELBO</a:t>
              </a:r>
              <a:endParaRPr lang="en-SG" sz="2800" dirty="0">
                <a:solidFill>
                  <a:schemeClr val="bg1"/>
                </a:solidFill>
                <a:latin typeface="Quicksand Bold" pitchFamily="50" charset="0"/>
              </a:endParaRPr>
            </a:p>
          </p:txBody>
        </p:sp>
      </p:grpSp>
      <p:pic>
        <p:nvPicPr>
          <p:cNvPr id="40" name="Picture 39">
            <a:extLst>
              <a:ext uri="{FF2B5EF4-FFF2-40B4-BE49-F238E27FC236}">
                <a16:creationId xmlns:a16="http://schemas.microsoft.com/office/drawing/2014/main" id="{9A125500-449A-4F14-8227-50EE062DC025}"/>
              </a:ext>
            </a:extLst>
          </p:cNvPr>
          <p:cNvPicPr>
            <a:picLocks noChangeAspect="1"/>
          </p:cNvPicPr>
          <p:nvPr/>
        </p:nvPicPr>
        <p:blipFill>
          <a:blip r:embed="rId20"/>
          <a:stretch>
            <a:fillRect/>
          </a:stretch>
        </p:blipFill>
        <p:spPr>
          <a:xfrm>
            <a:off x="2870730" y="1713988"/>
            <a:ext cx="6427288" cy="3633636"/>
          </a:xfrm>
          <a:prstGeom prst="rect">
            <a:avLst/>
          </a:prstGeom>
        </p:spPr>
      </p:pic>
      <p:pic>
        <p:nvPicPr>
          <p:cNvPr id="3" name="Picture 2">
            <a:extLst>
              <a:ext uri="{FF2B5EF4-FFF2-40B4-BE49-F238E27FC236}">
                <a16:creationId xmlns:a16="http://schemas.microsoft.com/office/drawing/2014/main" id="{6F91D255-F1DE-4B71-A110-98500C598564}"/>
              </a:ext>
            </a:extLst>
          </p:cNvPr>
          <p:cNvPicPr>
            <a:picLocks noChangeAspect="1"/>
          </p:cNvPicPr>
          <p:nvPr/>
        </p:nvPicPr>
        <p:blipFill rotWithShape="1">
          <a:blip r:embed="rId20"/>
          <a:srcRect l="82004" t="39217" r="11887" b="50000"/>
          <a:stretch/>
        </p:blipFill>
        <p:spPr>
          <a:xfrm>
            <a:off x="8131099" y="3994540"/>
            <a:ext cx="396228" cy="395426"/>
          </a:xfrm>
          <a:prstGeom prst="rect">
            <a:avLst/>
          </a:prstGeom>
        </p:spPr>
      </p:pic>
      <p:pic>
        <p:nvPicPr>
          <p:cNvPr id="69" name="Picture 68">
            <a:extLst>
              <a:ext uri="{FF2B5EF4-FFF2-40B4-BE49-F238E27FC236}">
                <a16:creationId xmlns:a16="http://schemas.microsoft.com/office/drawing/2014/main" id="{F4DF3E01-2759-4283-B126-A6DD12C421A3}"/>
              </a:ext>
            </a:extLst>
          </p:cNvPr>
          <p:cNvPicPr>
            <a:picLocks noChangeAspect="1"/>
          </p:cNvPicPr>
          <p:nvPr/>
        </p:nvPicPr>
        <p:blipFill>
          <a:blip r:embed="rId21"/>
          <a:stretch>
            <a:fillRect/>
          </a:stretch>
        </p:blipFill>
        <p:spPr>
          <a:xfrm>
            <a:off x="3712554" y="2743355"/>
            <a:ext cx="4066858" cy="1659223"/>
          </a:xfrm>
          <a:prstGeom prst="rect">
            <a:avLst/>
          </a:prstGeom>
          <a:ln w="19050">
            <a:solidFill>
              <a:schemeClr val="tx1"/>
            </a:solidFill>
          </a:ln>
        </p:spPr>
      </p:pic>
    </p:spTree>
    <p:extLst>
      <p:ext uri="{BB962C8B-B14F-4D97-AF65-F5344CB8AC3E}">
        <p14:creationId xmlns:p14="http://schemas.microsoft.com/office/powerpoint/2010/main" val="3998302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withEffect">
                                  <p:stCondLst>
                                    <p:cond delay="0"/>
                                  </p:stCondLst>
                                  <p:childTnLst>
                                    <p:animMotion origin="layout" path="M 5E-6 -3.7037E-6 L -0.30352 -3.7037E-6 " pathEditMode="relative" rAng="0" ptsTypes="AA">
                                      <p:cBhvr>
                                        <p:cTn id="6" dur="1000" fill="hold"/>
                                        <p:tgtEl>
                                          <p:spTgt spid="36"/>
                                        </p:tgtEl>
                                        <p:attrNameLst>
                                          <p:attrName>ppt_x</p:attrName>
                                          <p:attrName>ppt_y</p:attrName>
                                        </p:attrNameLst>
                                      </p:cBhvr>
                                      <p:rCtr x="-15182" y="0"/>
                                    </p:animMotion>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nodeType="afterEffect">
                                  <p:stCondLst>
                                    <p:cond delay="0"/>
                                  </p:stCondLst>
                                  <p:childTnLst>
                                    <p:set>
                                      <p:cBhvr>
                                        <p:cTn id="17" dur="1" fill="hold">
                                          <p:stCondLst>
                                            <p:cond delay="499"/>
                                          </p:stCondLst>
                                        </p:cTn>
                                        <p:tgtEl>
                                          <p:spTgt spid="69"/>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nodeType="clickEffect">
                                  <p:stCondLst>
                                    <p:cond delay="0"/>
                                  </p:stCondLst>
                                  <p:childTnLst>
                                    <p:animEffect transition="out" filter="fade">
                                      <p:cBhvr>
                                        <p:cTn id="21" dur="500"/>
                                        <p:tgtEl>
                                          <p:spTgt spid="40"/>
                                        </p:tgtEl>
                                      </p:cBhvr>
                                    </p:animEffect>
                                    <p:set>
                                      <p:cBhvr>
                                        <p:cTn id="22" dur="1" fill="hold">
                                          <p:stCondLst>
                                            <p:cond delay="499"/>
                                          </p:stCondLst>
                                        </p:cTn>
                                        <p:tgtEl>
                                          <p:spTgt spid="40"/>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3"/>
                                        </p:tgtEl>
                                      </p:cBhvr>
                                    </p:animEffect>
                                    <p:set>
                                      <p:cBhvr>
                                        <p:cTn id="25" dur="1" fill="hold">
                                          <p:stCondLst>
                                            <p:cond delay="499"/>
                                          </p:stCondLst>
                                        </p:cTn>
                                        <p:tgtEl>
                                          <p:spTgt spid="3"/>
                                        </p:tgtEl>
                                        <p:attrNameLst>
                                          <p:attrName>style.visibility</p:attrName>
                                        </p:attrNameLst>
                                      </p:cBhvr>
                                      <p:to>
                                        <p:strVal val="hidden"/>
                                      </p:to>
                                    </p:set>
                                  </p:childTnLst>
                                </p:cTn>
                              </p:par>
                              <p:par>
                                <p:cTn id="26" presetID="10" presetClass="exit" presetSubtype="0" fill="hold" nodeType="withEffect">
                                  <p:stCondLst>
                                    <p:cond delay="0"/>
                                  </p:stCondLst>
                                  <p:childTnLst>
                                    <p:animEffect transition="out" filter="fade">
                                      <p:cBhvr>
                                        <p:cTn id="27" dur="500"/>
                                        <p:tgtEl>
                                          <p:spTgt spid="69"/>
                                        </p:tgtEl>
                                      </p:cBhvr>
                                    </p:animEffect>
                                    <p:set>
                                      <p:cBhvr>
                                        <p:cTn id="28" dur="1" fill="hold">
                                          <p:stCondLst>
                                            <p:cond delay="499"/>
                                          </p:stCondLst>
                                        </p:cTn>
                                        <p:tgtEl>
                                          <p:spTgt spid="6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48DFE52D-A65A-4DE5-9141-C8C18039FC28}"/>
              </a:ext>
            </a:extLst>
          </p:cNvPr>
          <p:cNvSpPr/>
          <p:nvPr/>
        </p:nvSpPr>
        <p:spPr>
          <a:xfrm>
            <a:off x="2404997" y="0"/>
            <a:ext cx="5523978" cy="658869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dirty="0"/>
          </a:p>
        </p:txBody>
      </p:sp>
      <p:pic>
        <p:nvPicPr>
          <p:cNvPr id="4" name="Graphic 3">
            <a:extLst>
              <a:ext uri="{FF2B5EF4-FFF2-40B4-BE49-F238E27FC236}">
                <a16:creationId xmlns:a16="http://schemas.microsoft.com/office/drawing/2014/main" id="{4ECC20C5-AC41-41A4-BB51-4DDDC4C20631}"/>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23600"/>
          <a:stretch/>
        </p:blipFill>
        <p:spPr>
          <a:xfrm>
            <a:off x="3890332" y="2054363"/>
            <a:ext cx="4411340" cy="4209840"/>
          </a:xfrm>
          <a:prstGeom prst="rect">
            <a:avLst/>
          </a:prstGeom>
        </p:spPr>
      </p:pic>
      <p:pic>
        <p:nvPicPr>
          <p:cNvPr id="6" name="Picture 2" descr="May be an image of text that says '3lAgytech Simplifying Engineering'">
            <a:extLst>
              <a:ext uri="{FF2B5EF4-FFF2-40B4-BE49-F238E27FC236}">
                <a16:creationId xmlns:a16="http://schemas.microsoft.com/office/drawing/2014/main" id="{EA11242B-33A5-4485-BB9E-F75166952C6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pic>
        <p:nvPicPr>
          <p:cNvPr id="35" name="Graphic 34">
            <a:extLst>
              <a:ext uri="{FF2B5EF4-FFF2-40B4-BE49-F238E27FC236}">
                <a16:creationId xmlns:a16="http://schemas.microsoft.com/office/drawing/2014/main" id="{E662C6F4-CD2F-4496-8927-99705AE28A6A}"/>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b="20237"/>
          <a:stretch/>
        </p:blipFill>
        <p:spPr>
          <a:xfrm>
            <a:off x="5694876" y="1146557"/>
            <a:ext cx="802245" cy="799863"/>
          </a:xfrm>
          <a:prstGeom prst="rect">
            <a:avLst/>
          </a:prstGeom>
        </p:spPr>
      </p:pic>
      <p:pic>
        <p:nvPicPr>
          <p:cNvPr id="5" name="Graphic 4">
            <a:extLst>
              <a:ext uri="{FF2B5EF4-FFF2-40B4-BE49-F238E27FC236}">
                <a16:creationId xmlns:a16="http://schemas.microsoft.com/office/drawing/2014/main" id="{1DBD61F0-7028-4790-B1B0-F8DE51A07CEA}"/>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0048"/>
          <a:stretch/>
        </p:blipFill>
        <p:spPr>
          <a:xfrm>
            <a:off x="4986599" y="593796"/>
            <a:ext cx="2218800" cy="2217468"/>
          </a:xfrm>
          <a:prstGeom prst="rect">
            <a:avLst/>
          </a:prstGeom>
        </p:spPr>
      </p:pic>
      <p:pic>
        <p:nvPicPr>
          <p:cNvPr id="61" name="Graphic 60">
            <a:extLst>
              <a:ext uri="{FF2B5EF4-FFF2-40B4-BE49-F238E27FC236}">
                <a16:creationId xmlns:a16="http://schemas.microsoft.com/office/drawing/2014/main" id="{B2203A8E-2026-4BCB-B408-4D8547A24F6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73231" y="2655048"/>
            <a:ext cx="437870" cy="547338"/>
          </a:xfrm>
          <a:prstGeom prst="rect">
            <a:avLst/>
          </a:prstGeom>
        </p:spPr>
      </p:pic>
      <p:grpSp>
        <p:nvGrpSpPr>
          <p:cNvPr id="63" name="Group 62">
            <a:extLst>
              <a:ext uri="{FF2B5EF4-FFF2-40B4-BE49-F238E27FC236}">
                <a16:creationId xmlns:a16="http://schemas.microsoft.com/office/drawing/2014/main" id="{857D2D98-413F-4282-9713-17838A3F6DDD}"/>
              </a:ext>
            </a:extLst>
          </p:cNvPr>
          <p:cNvGrpSpPr/>
          <p:nvPr/>
        </p:nvGrpSpPr>
        <p:grpSpPr>
          <a:xfrm>
            <a:off x="1235183" y="3333604"/>
            <a:ext cx="3451374" cy="1361460"/>
            <a:chOff x="1235183" y="3333604"/>
            <a:chExt cx="3451374" cy="1361460"/>
          </a:xfrm>
        </p:grpSpPr>
        <p:pic>
          <p:nvPicPr>
            <p:cNvPr id="64" name="Graphic 63">
              <a:extLst>
                <a:ext uri="{FF2B5EF4-FFF2-40B4-BE49-F238E27FC236}">
                  <a16:creationId xmlns:a16="http://schemas.microsoft.com/office/drawing/2014/main" id="{F7EE94F7-E92B-4BA5-BC2C-E130F303CC17}"/>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2472" t="13101" r="28" b="36217"/>
            <a:stretch/>
          </p:blipFill>
          <p:spPr>
            <a:xfrm rot="14205273" flipH="1">
              <a:off x="2934079" y="3857570"/>
              <a:ext cx="1071562" cy="603425"/>
            </a:xfrm>
            <a:prstGeom prst="rect">
              <a:avLst/>
            </a:prstGeom>
          </p:spPr>
        </p:pic>
        <p:sp>
          <p:nvSpPr>
            <p:cNvPr id="65" name="TextBox 64">
              <a:extLst>
                <a:ext uri="{FF2B5EF4-FFF2-40B4-BE49-F238E27FC236}">
                  <a16:creationId xmlns:a16="http://schemas.microsoft.com/office/drawing/2014/main" id="{962F72E2-3A1A-4182-9D35-DE9DF7861E7E}"/>
                </a:ext>
              </a:extLst>
            </p:cNvPr>
            <p:cNvSpPr txBox="1"/>
            <p:nvPr/>
          </p:nvSpPr>
          <p:spPr>
            <a:xfrm rot="21264721">
              <a:off x="1235183" y="3333604"/>
              <a:ext cx="3451374" cy="523220"/>
            </a:xfrm>
            <a:prstGeom prst="rect">
              <a:avLst/>
            </a:prstGeom>
            <a:noFill/>
          </p:spPr>
          <p:txBody>
            <a:bodyPr wrap="square" rtlCol="0">
              <a:spAutoFit/>
            </a:bodyPr>
            <a:lstStyle/>
            <a:p>
              <a:pPr algn="ctr"/>
              <a:r>
                <a:rPr lang="en-US" sz="2800" dirty="0">
                  <a:solidFill>
                    <a:schemeClr val="bg1"/>
                  </a:solidFill>
                  <a:latin typeface="Quicksand Bold" pitchFamily="50" charset="0"/>
                </a:rPr>
                <a:t>ELBO</a:t>
              </a:r>
              <a:endParaRPr lang="en-SG" sz="2800" dirty="0">
                <a:solidFill>
                  <a:schemeClr val="bg1"/>
                </a:solidFill>
                <a:latin typeface="Quicksand Bold" pitchFamily="50" charset="0"/>
              </a:endParaRPr>
            </a:p>
          </p:txBody>
        </p:sp>
      </p:grpSp>
      <p:pic>
        <p:nvPicPr>
          <p:cNvPr id="40" name="Graphic 39">
            <a:extLst>
              <a:ext uri="{FF2B5EF4-FFF2-40B4-BE49-F238E27FC236}">
                <a16:creationId xmlns:a16="http://schemas.microsoft.com/office/drawing/2014/main" id="{3C126258-3024-4E4E-AC4F-4110AE5714A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081664" y="2658148"/>
            <a:ext cx="449433" cy="561792"/>
          </a:xfrm>
          <a:prstGeom prst="rect">
            <a:avLst/>
          </a:prstGeom>
        </p:spPr>
      </p:pic>
      <p:grpSp>
        <p:nvGrpSpPr>
          <p:cNvPr id="12" name="Group 11">
            <a:extLst>
              <a:ext uri="{FF2B5EF4-FFF2-40B4-BE49-F238E27FC236}">
                <a16:creationId xmlns:a16="http://schemas.microsoft.com/office/drawing/2014/main" id="{2FA9BD28-7DE4-4401-AE07-0B48DDD36FE1}"/>
              </a:ext>
            </a:extLst>
          </p:cNvPr>
          <p:cNvGrpSpPr/>
          <p:nvPr/>
        </p:nvGrpSpPr>
        <p:grpSpPr>
          <a:xfrm>
            <a:off x="-6118009" y="-2922637"/>
            <a:ext cx="13168049" cy="12703273"/>
            <a:chOff x="-6118009" y="-2922637"/>
            <a:chExt cx="13168049" cy="12703273"/>
          </a:xfrm>
        </p:grpSpPr>
        <p:grpSp>
          <p:nvGrpSpPr>
            <p:cNvPr id="13" name="Group 12">
              <a:extLst>
                <a:ext uri="{FF2B5EF4-FFF2-40B4-BE49-F238E27FC236}">
                  <a16:creationId xmlns:a16="http://schemas.microsoft.com/office/drawing/2014/main" id="{7350C6A9-CDE3-47C4-8397-98D3DBB1AEE5}"/>
                </a:ext>
              </a:extLst>
            </p:cNvPr>
            <p:cNvGrpSpPr/>
            <p:nvPr/>
          </p:nvGrpSpPr>
          <p:grpSpPr>
            <a:xfrm>
              <a:off x="-6118009" y="-2922637"/>
              <a:ext cx="13168049" cy="12703273"/>
              <a:chOff x="-6118009" y="-2922637"/>
              <a:chExt cx="13168049" cy="12703273"/>
            </a:xfrm>
          </p:grpSpPr>
          <p:grpSp>
            <p:nvGrpSpPr>
              <p:cNvPr id="16" name="Group 15">
                <a:extLst>
                  <a:ext uri="{FF2B5EF4-FFF2-40B4-BE49-F238E27FC236}">
                    <a16:creationId xmlns:a16="http://schemas.microsoft.com/office/drawing/2014/main" id="{55BE7EAE-9478-4C4B-8E59-AECD8F2C6998}"/>
                  </a:ext>
                </a:extLst>
              </p:cNvPr>
              <p:cNvGrpSpPr/>
              <p:nvPr/>
            </p:nvGrpSpPr>
            <p:grpSpPr>
              <a:xfrm>
                <a:off x="-6118009" y="-2922637"/>
                <a:ext cx="13168049" cy="12703273"/>
                <a:chOff x="-6118009" y="-2922637"/>
                <a:chExt cx="13168049" cy="12703273"/>
              </a:xfrm>
            </p:grpSpPr>
            <p:pic>
              <p:nvPicPr>
                <p:cNvPr id="18" name="Graphic 17">
                  <a:extLst>
                    <a:ext uri="{FF2B5EF4-FFF2-40B4-BE49-F238E27FC236}">
                      <a16:creationId xmlns:a16="http://schemas.microsoft.com/office/drawing/2014/main" id="{B21955A7-C6B8-45B5-B213-1CF6106E570F}"/>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l="11190" t="10566" r="11006" b="29388"/>
                <a:stretch/>
              </p:blipFill>
              <p:spPr>
                <a:xfrm>
                  <a:off x="-6118009" y="-2922637"/>
                  <a:ext cx="13168049" cy="12703273"/>
                </a:xfrm>
                <a:prstGeom prst="rect">
                  <a:avLst/>
                </a:prstGeom>
              </p:spPr>
            </p:pic>
            <p:pic>
              <p:nvPicPr>
                <p:cNvPr id="19" name="Graphic 18">
                  <a:extLst>
                    <a:ext uri="{FF2B5EF4-FFF2-40B4-BE49-F238E27FC236}">
                      <a16:creationId xmlns:a16="http://schemas.microsoft.com/office/drawing/2014/main" id="{3E6134B2-9C34-4368-A88A-D811EEFBE8EC}"/>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b="17405"/>
                <a:stretch/>
              </p:blipFill>
              <p:spPr>
                <a:xfrm rot="515605">
                  <a:off x="-566023" y="591403"/>
                  <a:ext cx="5244392" cy="5414531"/>
                </a:xfrm>
                <a:prstGeom prst="rect">
                  <a:avLst/>
                </a:prstGeom>
              </p:spPr>
            </p:pic>
          </p:grpSp>
          <p:pic>
            <p:nvPicPr>
              <p:cNvPr id="17" name="Picture 16">
                <a:extLst>
                  <a:ext uri="{FF2B5EF4-FFF2-40B4-BE49-F238E27FC236}">
                    <a16:creationId xmlns:a16="http://schemas.microsoft.com/office/drawing/2014/main" id="{371EB981-DD94-4C3F-9F28-10495A074AA9}"/>
                  </a:ext>
                </a:extLst>
              </p:cNvPr>
              <p:cNvPicPr>
                <a:picLocks noChangeAspect="1"/>
              </p:cNvPicPr>
              <p:nvPr/>
            </p:nvPicPr>
            <p:blipFill rotWithShape="1">
              <a:blip r:embed="rId19"/>
              <a:srcRect t="11325" r="3507" b="8271"/>
              <a:stretch/>
            </p:blipFill>
            <p:spPr>
              <a:xfrm rot="540000">
                <a:off x="1101529" y="1392958"/>
                <a:ext cx="2057155" cy="3011221"/>
              </a:xfrm>
              <a:prstGeom prst="rect">
                <a:avLst/>
              </a:prstGeom>
              <a:ln>
                <a:solidFill>
                  <a:schemeClr val="tx1"/>
                </a:solidFill>
              </a:ln>
            </p:spPr>
          </p:pic>
        </p:grpSp>
        <p:sp>
          <p:nvSpPr>
            <p:cNvPr id="14" name="Rectangle 13">
              <a:extLst>
                <a:ext uri="{FF2B5EF4-FFF2-40B4-BE49-F238E27FC236}">
                  <a16:creationId xmlns:a16="http://schemas.microsoft.com/office/drawing/2014/main" id="{C55BC979-EDDB-444A-B8F1-7F09BEEC4257}"/>
                </a:ext>
              </a:extLst>
            </p:cNvPr>
            <p:cNvSpPr/>
            <p:nvPr/>
          </p:nvSpPr>
          <p:spPr>
            <a:xfrm>
              <a:off x="-91897" y="6097789"/>
              <a:ext cx="2604301" cy="1060457"/>
            </a:xfrm>
            <a:prstGeom prst="rect">
              <a:avLst/>
            </a:prstGeom>
            <a:solidFill>
              <a:srgbClr val="F3B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5" name="Rectangle 14">
              <a:extLst>
                <a:ext uri="{FF2B5EF4-FFF2-40B4-BE49-F238E27FC236}">
                  <a16:creationId xmlns:a16="http://schemas.microsoft.com/office/drawing/2014/main" id="{4B978525-8B1C-4B8F-9B4A-8990D7226FE8}"/>
                </a:ext>
              </a:extLst>
            </p:cNvPr>
            <p:cNvSpPr/>
            <p:nvPr/>
          </p:nvSpPr>
          <p:spPr>
            <a:xfrm>
              <a:off x="1797240" y="-433876"/>
              <a:ext cx="2604301" cy="1060457"/>
            </a:xfrm>
            <a:prstGeom prst="rect">
              <a:avLst/>
            </a:prstGeom>
            <a:solidFill>
              <a:srgbClr val="F3B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spTree>
    <p:extLst>
      <p:ext uri="{BB962C8B-B14F-4D97-AF65-F5344CB8AC3E}">
        <p14:creationId xmlns:p14="http://schemas.microsoft.com/office/powerpoint/2010/main" val="3710808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61"/>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 presetClass="entr" presetSubtype="8" decel="60000"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xit" presetSubtype="8" accel="60000" fill="hold" nodeType="clickEffect">
                                  <p:stCondLst>
                                    <p:cond delay="0"/>
                                  </p:stCondLst>
                                  <p:childTnLst>
                                    <p:anim calcmode="lin" valueType="num">
                                      <p:cBhvr additive="base">
                                        <p:cTn id="18" dur="500"/>
                                        <p:tgtEl>
                                          <p:spTgt spid="12"/>
                                        </p:tgtEl>
                                        <p:attrNameLst>
                                          <p:attrName>ppt_x</p:attrName>
                                        </p:attrNameLst>
                                      </p:cBhvr>
                                      <p:tavLst>
                                        <p:tav tm="0">
                                          <p:val>
                                            <p:strVal val="ppt_x"/>
                                          </p:val>
                                        </p:tav>
                                        <p:tav tm="100000">
                                          <p:val>
                                            <p:strVal val="0-ppt_w/2"/>
                                          </p:val>
                                        </p:tav>
                                      </p:tavLst>
                                    </p:anim>
                                    <p:anim calcmode="lin" valueType="num">
                                      <p:cBhvr additive="base">
                                        <p:cTn id="19" dur="500"/>
                                        <p:tgtEl>
                                          <p:spTgt spid="12"/>
                                        </p:tgtEl>
                                        <p:attrNameLst>
                                          <p:attrName>ppt_y</p:attrName>
                                        </p:attrNameLst>
                                      </p:cBhvr>
                                      <p:tavLst>
                                        <p:tav tm="0">
                                          <p:val>
                                            <p:strVal val="ppt_y"/>
                                          </p:val>
                                        </p:tav>
                                        <p:tav tm="100000">
                                          <p:val>
                                            <p:strVal val="ppt_y"/>
                                          </p:val>
                                        </p:tav>
                                      </p:tavLst>
                                    </p:anim>
                                    <p:set>
                                      <p:cBhvr>
                                        <p:cTn id="20"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May be an image of text that says '3lAgytech Simplifying Engineering'">
            <a:extLst>
              <a:ext uri="{FF2B5EF4-FFF2-40B4-BE49-F238E27FC236}">
                <a16:creationId xmlns:a16="http://schemas.microsoft.com/office/drawing/2014/main" id="{EA11242B-33A5-4485-BB9E-F75166952C6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83BBAA13-0007-4256-9C01-709906F33990}"/>
              </a:ext>
            </a:extLst>
          </p:cNvPr>
          <p:cNvGrpSpPr/>
          <p:nvPr/>
        </p:nvGrpSpPr>
        <p:grpSpPr>
          <a:xfrm>
            <a:off x="1235183" y="0"/>
            <a:ext cx="7066489" cy="6588690"/>
            <a:chOff x="1235183" y="0"/>
            <a:chExt cx="7066489" cy="6588690"/>
          </a:xfrm>
        </p:grpSpPr>
        <p:sp>
          <p:nvSpPr>
            <p:cNvPr id="62" name="Rectangle 61">
              <a:extLst>
                <a:ext uri="{FF2B5EF4-FFF2-40B4-BE49-F238E27FC236}">
                  <a16:creationId xmlns:a16="http://schemas.microsoft.com/office/drawing/2014/main" id="{48DFE52D-A65A-4DE5-9141-C8C18039FC28}"/>
                </a:ext>
              </a:extLst>
            </p:cNvPr>
            <p:cNvSpPr/>
            <p:nvPr/>
          </p:nvSpPr>
          <p:spPr>
            <a:xfrm>
              <a:off x="2404997" y="0"/>
              <a:ext cx="5523978" cy="658869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dirty="0"/>
            </a:p>
          </p:txBody>
        </p:sp>
        <p:pic>
          <p:nvPicPr>
            <p:cNvPr id="4" name="Graphic 3">
              <a:extLst>
                <a:ext uri="{FF2B5EF4-FFF2-40B4-BE49-F238E27FC236}">
                  <a16:creationId xmlns:a16="http://schemas.microsoft.com/office/drawing/2014/main" id="{4ECC20C5-AC41-41A4-BB51-4DDDC4C20631}"/>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23600"/>
            <a:stretch/>
          </p:blipFill>
          <p:spPr>
            <a:xfrm>
              <a:off x="3890332" y="2054363"/>
              <a:ext cx="4411340" cy="4209840"/>
            </a:xfrm>
            <a:prstGeom prst="rect">
              <a:avLst/>
            </a:prstGeom>
          </p:spPr>
        </p:pic>
        <p:pic>
          <p:nvPicPr>
            <p:cNvPr id="35" name="Graphic 34">
              <a:extLst>
                <a:ext uri="{FF2B5EF4-FFF2-40B4-BE49-F238E27FC236}">
                  <a16:creationId xmlns:a16="http://schemas.microsoft.com/office/drawing/2014/main" id="{E662C6F4-CD2F-4496-8927-99705AE28A6A}"/>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20237"/>
            <a:stretch/>
          </p:blipFill>
          <p:spPr>
            <a:xfrm>
              <a:off x="5694876" y="1146557"/>
              <a:ext cx="802245" cy="799863"/>
            </a:xfrm>
            <a:prstGeom prst="rect">
              <a:avLst/>
            </a:prstGeom>
          </p:spPr>
        </p:pic>
        <p:pic>
          <p:nvPicPr>
            <p:cNvPr id="5" name="Graphic 4">
              <a:extLst>
                <a:ext uri="{FF2B5EF4-FFF2-40B4-BE49-F238E27FC236}">
                  <a16:creationId xmlns:a16="http://schemas.microsoft.com/office/drawing/2014/main" id="{1DBD61F0-7028-4790-B1B0-F8DE51A07CEA}"/>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20048"/>
            <a:stretch/>
          </p:blipFill>
          <p:spPr>
            <a:xfrm>
              <a:off x="4986599" y="593796"/>
              <a:ext cx="2218800" cy="2217468"/>
            </a:xfrm>
            <a:prstGeom prst="rect">
              <a:avLst/>
            </a:prstGeom>
          </p:spPr>
        </p:pic>
        <p:grpSp>
          <p:nvGrpSpPr>
            <p:cNvPr id="63" name="Group 62">
              <a:extLst>
                <a:ext uri="{FF2B5EF4-FFF2-40B4-BE49-F238E27FC236}">
                  <a16:creationId xmlns:a16="http://schemas.microsoft.com/office/drawing/2014/main" id="{857D2D98-413F-4282-9713-17838A3F6DDD}"/>
                </a:ext>
              </a:extLst>
            </p:cNvPr>
            <p:cNvGrpSpPr/>
            <p:nvPr/>
          </p:nvGrpSpPr>
          <p:grpSpPr>
            <a:xfrm>
              <a:off x="1235183" y="3333604"/>
              <a:ext cx="3451374" cy="1361460"/>
              <a:chOff x="1235183" y="3333604"/>
              <a:chExt cx="3451374" cy="1361460"/>
            </a:xfrm>
          </p:grpSpPr>
          <p:pic>
            <p:nvPicPr>
              <p:cNvPr id="64" name="Graphic 63">
                <a:extLst>
                  <a:ext uri="{FF2B5EF4-FFF2-40B4-BE49-F238E27FC236}">
                    <a16:creationId xmlns:a16="http://schemas.microsoft.com/office/drawing/2014/main" id="{F7EE94F7-E92B-4BA5-BC2C-E130F303CC17}"/>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l="2472" t="13101" r="28" b="36217"/>
              <a:stretch/>
            </p:blipFill>
            <p:spPr>
              <a:xfrm rot="14205273" flipH="1">
                <a:off x="2934079" y="3857570"/>
                <a:ext cx="1071562" cy="603425"/>
              </a:xfrm>
              <a:prstGeom prst="rect">
                <a:avLst/>
              </a:prstGeom>
            </p:spPr>
          </p:pic>
          <p:sp>
            <p:nvSpPr>
              <p:cNvPr id="65" name="TextBox 64">
                <a:extLst>
                  <a:ext uri="{FF2B5EF4-FFF2-40B4-BE49-F238E27FC236}">
                    <a16:creationId xmlns:a16="http://schemas.microsoft.com/office/drawing/2014/main" id="{962F72E2-3A1A-4182-9D35-DE9DF7861E7E}"/>
                  </a:ext>
                </a:extLst>
              </p:cNvPr>
              <p:cNvSpPr txBox="1"/>
              <p:nvPr/>
            </p:nvSpPr>
            <p:spPr>
              <a:xfrm rot="21264721">
                <a:off x="1235183" y="3333604"/>
                <a:ext cx="3451374" cy="523220"/>
              </a:xfrm>
              <a:prstGeom prst="rect">
                <a:avLst/>
              </a:prstGeom>
              <a:noFill/>
            </p:spPr>
            <p:txBody>
              <a:bodyPr wrap="square" rtlCol="0">
                <a:spAutoFit/>
              </a:bodyPr>
              <a:lstStyle/>
              <a:p>
                <a:pPr algn="ctr"/>
                <a:r>
                  <a:rPr lang="en-US" sz="2800" dirty="0">
                    <a:solidFill>
                      <a:schemeClr val="bg1"/>
                    </a:solidFill>
                    <a:latin typeface="Quicksand Bold" pitchFamily="50" charset="0"/>
                  </a:rPr>
                  <a:t>ELBO</a:t>
                </a:r>
                <a:endParaRPr lang="en-SG" sz="2800" dirty="0">
                  <a:solidFill>
                    <a:schemeClr val="bg1"/>
                  </a:solidFill>
                  <a:latin typeface="Quicksand Bold" pitchFamily="50" charset="0"/>
                </a:endParaRPr>
              </a:p>
            </p:txBody>
          </p:sp>
        </p:grpSp>
        <p:pic>
          <p:nvPicPr>
            <p:cNvPr id="12" name="Graphic 11">
              <a:extLst>
                <a:ext uri="{FF2B5EF4-FFF2-40B4-BE49-F238E27FC236}">
                  <a16:creationId xmlns:a16="http://schemas.microsoft.com/office/drawing/2014/main" id="{6F352FB9-319A-48AE-A886-4866348E768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081664" y="2658148"/>
              <a:ext cx="449433" cy="561792"/>
            </a:xfrm>
            <a:prstGeom prst="rect">
              <a:avLst/>
            </a:prstGeom>
          </p:spPr>
        </p:pic>
      </p:grpSp>
    </p:spTree>
    <p:extLst>
      <p:ext uri="{BB962C8B-B14F-4D97-AF65-F5344CB8AC3E}">
        <p14:creationId xmlns:p14="http://schemas.microsoft.com/office/powerpoint/2010/main" val="192468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A0590206-0ED7-4C9C-A08F-015B611652EF}"/>
              </a:ext>
            </a:extLst>
          </p:cNvPr>
          <p:cNvCxnSpPr>
            <a:cxnSpLocks/>
          </p:cNvCxnSpPr>
          <p:nvPr/>
        </p:nvCxnSpPr>
        <p:spPr>
          <a:xfrm>
            <a:off x="2486998" y="2617938"/>
            <a:ext cx="8295302" cy="0"/>
          </a:xfrm>
          <a:prstGeom prst="line">
            <a:avLst/>
          </a:prstGeom>
          <a:ln w="28575">
            <a:solidFill>
              <a:schemeClr val="bg1"/>
            </a:solidFill>
            <a:prstDash val="lgDash"/>
          </a:ln>
        </p:spPr>
        <p:style>
          <a:lnRef idx="1">
            <a:schemeClr val="accent1"/>
          </a:lnRef>
          <a:fillRef idx="0">
            <a:schemeClr val="accent1"/>
          </a:fillRef>
          <a:effectRef idx="0">
            <a:schemeClr val="accent1"/>
          </a:effectRef>
          <a:fontRef idx="minor">
            <a:schemeClr val="tx1"/>
          </a:fontRef>
        </p:style>
      </p:cxnSp>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3C2B16DD-F023-4029-9C7E-B906517F9E25}"/>
              </a:ext>
            </a:extLst>
          </p:cNvPr>
          <p:cNvSpPr txBox="1">
            <a:spLocks/>
          </p:cNvSpPr>
          <p:nvPr/>
        </p:nvSpPr>
        <p:spPr>
          <a:xfrm>
            <a:off x="2057534" y="2724839"/>
            <a:ext cx="9144000" cy="1388408"/>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SG" sz="11500" dirty="0">
                <a:solidFill>
                  <a:schemeClr val="bg1"/>
                </a:solidFill>
                <a:latin typeface="Bebas Neue" panose="020B0606020202050201" pitchFamily="34" charset="0"/>
              </a:rPr>
              <a:t>Our progress so far</a:t>
            </a:r>
          </a:p>
        </p:txBody>
      </p:sp>
      <p:cxnSp>
        <p:nvCxnSpPr>
          <p:cNvPr id="15" name="Straight Connector 14">
            <a:extLst>
              <a:ext uri="{FF2B5EF4-FFF2-40B4-BE49-F238E27FC236}">
                <a16:creationId xmlns:a16="http://schemas.microsoft.com/office/drawing/2014/main" id="{E78CEFD2-5E9F-4E60-B9FC-12B5E4410B92}"/>
              </a:ext>
            </a:extLst>
          </p:cNvPr>
          <p:cNvCxnSpPr>
            <a:cxnSpLocks/>
          </p:cNvCxnSpPr>
          <p:nvPr/>
        </p:nvCxnSpPr>
        <p:spPr>
          <a:xfrm>
            <a:off x="2017276" y="3860105"/>
            <a:ext cx="8794207" cy="0"/>
          </a:xfrm>
          <a:prstGeom prst="line">
            <a:avLst/>
          </a:prstGeom>
          <a:ln w="28575">
            <a:solidFill>
              <a:schemeClr val="bg1"/>
            </a:solidFill>
            <a:prstDash val="lgDash"/>
          </a:ln>
        </p:spPr>
        <p:style>
          <a:lnRef idx="1">
            <a:schemeClr val="accent1"/>
          </a:lnRef>
          <a:fillRef idx="0">
            <a:schemeClr val="accent1"/>
          </a:fillRef>
          <a:effectRef idx="0">
            <a:schemeClr val="accent1"/>
          </a:effectRef>
          <a:fontRef idx="minor">
            <a:schemeClr val="tx1"/>
          </a:fontRef>
        </p:style>
      </p:cxnSp>
      <p:grpSp>
        <p:nvGrpSpPr>
          <p:cNvPr id="12" name="Atomic" descr="{&quot;Key&quot;:&quot;POWER_USER_SHAPE_ICON&quot;,&quot;Value&quot;:&quot;POWER_USER_SHAPE_ICON_STYLE_1&quot;}">
            <a:extLst>
              <a:ext uri="{FF2B5EF4-FFF2-40B4-BE49-F238E27FC236}">
                <a16:creationId xmlns:a16="http://schemas.microsoft.com/office/drawing/2014/main" id="{BEAB1E8F-119B-4CA1-83AB-CDC5CA4B4C5F}"/>
              </a:ext>
            </a:extLst>
          </p:cNvPr>
          <p:cNvGrpSpPr>
            <a:grpSpLocks noChangeAspect="1"/>
          </p:cNvGrpSpPr>
          <p:nvPr>
            <p:custDataLst>
              <p:tags r:id="rId1"/>
            </p:custDataLst>
          </p:nvPr>
        </p:nvGrpSpPr>
        <p:grpSpPr bwMode="auto">
          <a:xfrm>
            <a:off x="923312" y="2094292"/>
            <a:ext cx="1738978" cy="1936909"/>
            <a:chOff x="62" y="39"/>
            <a:chExt cx="369" cy="411"/>
          </a:xfrm>
          <a:solidFill>
            <a:schemeClr val="bg1"/>
          </a:solidFill>
        </p:grpSpPr>
        <p:sp>
          <p:nvSpPr>
            <p:cNvPr id="13" name="Atomic">
              <a:extLst>
                <a:ext uri="{FF2B5EF4-FFF2-40B4-BE49-F238E27FC236}">
                  <a16:creationId xmlns:a16="http://schemas.microsoft.com/office/drawing/2014/main" id="{D522FA2A-CA03-4486-BE1D-00F124140A39}"/>
                </a:ext>
              </a:extLst>
            </p:cNvPr>
            <p:cNvSpPr>
              <a:spLocks noEditPoints="1"/>
            </p:cNvSpPr>
            <p:nvPr>
              <p:custDataLst>
                <p:tags r:id="rId2"/>
              </p:custDataLst>
            </p:nvPr>
          </p:nvSpPr>
          <p:spPr bwMode="auto">
            <a:xfrm>
              <a:off x="175" y="39"/>
              <a:ext cx="142" cy="411"/>
            </a:xfrm>
            <a:custGeom>
              <a:avLst/>
              <a:gdLst>
                <a:gd name="T0" fmla="*/ 154 w 308"/>
                <a:gd name="T1" fmla="*/ 0 h 889"/>
                <a:gd name="T2" fmla="*/ 90 w 308"/>
                <a:gd name="T3" fmla="*/ 39 h 889"/>
                <a:gd name="T4" fmla="*/ 43 w 308"/>
                <a:gd name="T5" fmla="*/ 135 h 889"/>
                <a:gd name="T6" fmla="*/ 0 w 308"/>
                <a:gd name="T7" fmla="*/ 445 h 889"/>
                <a:gd name="T8" fmla="*/ 43 w 308"/>
                <a:gd name="T9" fmla="*/ 755 h 889"/>
                <a:gd name="T10" fmla="*/ 90 w 308"/>
                <a:gd name="T11" fmla="*/ 851 h 889"/>
                <a:gd name="T12" fmla="*/ 154 w 308"/>
                <a:gd name="T13" fmla="*/ 889 h 889"/>
                <a:gd name="T14" fmla="*/ 218 w 308"/>
                <a:gd name="T15" fmla="*/ 851 h 889"/>
                <a:gd name="T16" fmla="*/ 265 w 308"/>
                <a:gd name="T17" fmla="*/ 755 h 889"/>
                <a:gd name="T18" fmla="*/ 308 w 308"/>
                <a:gd name="T19" fmla="*/ 445 h 889"/>
                <a:gd name="T20" fmla="*/ 265 w 308"/>
                <a:gd name="T21" fmla="*/ 135 h 889"/>
                <a:gd name="T22" fmla="*/ 218 w 308"/>
                <a:gd name="T23" fmla="*/ 39 h 889"/>
                <a:gd name="T24" fmla="*/ 154 w 308"/>
                <a:gd name="T25" fmla="*/ 0 h 889"/>
                <a:gd name="T26" fmla="*/ 154 w 308"/>
                <a:gd name="T27" fmla="*/ 20 h 889"/>
                <a:gd name="T28" fmla="*/ 202 w 308"/>
                <a:gd name="T29" fmla="*/ 51 h 889"/>
                <a:gd name="T30" fmla="*/ 247 w 308"/>
                <a:gd name="T31" fmla="*/ 141 h 889"/>
                <a:gd name="T32" fmla="*/ 288 w 308"/>
                <a:gd name="T33" fmla="*/ 445 h 889"/>
                <a:gd name="T34" fmla="*/ 247 w 308"/>
                <a:gd name="T35" fmla="*/ 748 h 889"/>
                <a:gd name="T36" fmla="*/ 202 w 308"/>
                <a:gd name="T37" fmla="*/ 838 h 889"/>
                <a:gd name="T38" fmla="*/ 154 w 308"/>
                <a:gd name="T39" fmla="*/ 869 h 889"/>
                <a:gd name="T40" fmla="*/ 106 w 308"/>
                <a:gd name="T41" fmla="*/ 838 h 889"/>
                <a:gd name="T42" fmla="*/ 62 w 308"/>
                <a:gd name="T43" fmla="*/ 748 h 889"/>
                <a:gd name="T44" fmla="*/ 20 w 308"/>
                <a:gd name="T45" fmla="*/ 445 h 889"/>
                <a:gd name="T46" fmla="*/ 62 w 308"/>
                <a:gd name="T47" fmla="*/ 141 h 889"/>
                <a:gd name="T48" fmla="*/ 106 w 308"/>
                <a:gd name="T49" fmla="*/ 51 h 889"/>
                <a:gd name="T50" fmla="*/ 154 w 308"/>
                <a:gd name="T51" fmla="*/ 2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8" h="889">
                  <a:moveTo>
                    <a:pt x="154" y="0"/>
                  </a:moveTo>
                  <a:cubicBezTo>
                    <a:pt x="130" y="0"/>
                    <a:pt x="109" y="15"/>
                    <a:pt x="90" y="39"/>
                  </a:cubicBezTo>
                  <a:cubicBezTo>
                    <a:pt x="72" y="62"/>
                    <a:pt x="56" y="95"/>
                    <a:pt x="43" y="135"/>
                  </a:cubicBezTo>
                  <a:cubicBezTo>
                    <a:pt x="16" y="214"/>
                    <a:pt x="0" y="324"/>
                    <a:pt x="0" y="445"/>
                  </a:cubicBezTo>
                  <a:cubicBezTo>
                    <a:pt x="0" y="565"/>
                    <a:pt x="16" y="675"/>
                    <a:pt x="43" y="755"/>
                  </a:cubicBezTo>
                  <a:cubicBezTo>
                    <a:pt x="56" y="795"/>
                    <a:pt x="72" y="827"/>
                    <a:pt x="90" y="851"/>
                  </a:cubicBezTo>
                  <a:cubicBezTo>
                    <a:pt x="109" y="874"/>
                    <a:pt x="130" y="889"/>
                    <a:pt x="154" y="889"/>
                  </a:cubicBezTo>
                  <a:cubicBezTo>
                    <a:pt x="178" y="889"/>
                    <a:pt x="200" y="874"/>
                    <a:pt x="218" y="851"/>
                  </a:cubicBezTo>
                  <a:cubicBezTo>
                    <a:pt x="237" y="827"/>
                    <a:pt x="252" y="795"/>
                    <a:pt x="265" y="755"/>
                  </a:cubicBezTo>
                  <a:cubicBezTo>
                    <a:pt x="292" y="675"/>
                    <a:pt x="308" y="565"/>
                    <a:pt x="308" y="445"/>
                  </a:cubicBezTo>
                  <a:cubicBezTo>
                    <a:pt x="308" y="324"/>
                    <a:pt x="292" y="214"/>
                    <a:pt x="265" y="135"/>
                  </a:cubicBezTo>
                  <a:cubicBezTo>
                    <a:pt x="252" y="95"/>
                    <a:pt x="237" y="62"/>
                    <a:pt x="218" y="39"/>
                  </a:cubicBezTo>
                  <a:cubicBezTo>
                    <a:pt x="200" y="15"/>
                    <a:pt x="178" y="0"/>
                    <a:pt x="154" y="0"/>
                  </a:cubicBezTo>
                  <a:close/>
                  <a:moveTo>
                    <a:pt x="154" y="20"/>
                  </a:moveTo>
                  <a:cubicBezTo>
                    <a:pt x="170" y="20"/>
                    <a:pt x="186" y="30"/>
                    <a:pt x="202" y="51"/>
                  </a:cubicBezTo>
                  <a:cubicBezTo>
                    <a:pt x="218" y="71"/>
                    <a:pt x="234" y="102"/>
                    <a:pt x="247" y="141"/>
                  </a:cubicBezTo>
                  <a:cubicBezTo>
                    <a:pt x="272" y="218"/>
                    <a:pt x="288" y="326"/>
                    <a:pt x="288" y="445"/>
                  </a:cubicBezTo>
                  <a:cubicBezTo>
                    <a:pt x="288" y="563"/>
                    <a:pt x="272" y="671"/>
                    <a:pt x="247" y="748"/>
                  </a:cubicBezTo>
                  <a:cubicBezTo>
                    <a:pt x="234" y="787"/>
                    <a:pt x="218" y="818"/>
                    <a:pt x="202" y="838"/>
                  </a:cubicBezTo>
                  <a:cubicBezTo>
                    <a:pt x="186" y="859"/>
                    <a:pt x="170" y="869"/>
                    <a:pt x="154" y="869"/>
                  </a:cubicBezTo>
                  <a:cubicBezTo>
                    <a:pt x="138" y="869"/>
                    <a:pt x="122" y="859"/>
                    <a:pt x="106" y="838"/>
                  </a:cubicBezTo>
                  <a:cubicBezTo>
                    <a:pt x="90" y="818"/>
                    <a:pt x="75" y="787"/>
                    <a:pt x="62" y="748"/>
                  </a:cubicBezTo>
                  <a:cubicBezTo>
                    <a:pt x="36" y="671"/>
                    <a:pt x="20" y="563"/>
                    <a:pt x="20" y="445"/>
                  </a:cubicBezTo>
                  <a:cubicBezTo>
                    <a:pt x="20" y="326"/>
                    <a:pt x="36" y="218"/>
                    <a:pt x="62" y="141"/>
                  </a:cubicBezTo>
                  <a:cubicBezTo>
                    <a:pt x="75" y="102"/>
                    <a:pt x="90" y="71"/>
                    <a:pt x="106" y="51"/>
                  </a:cubicBezTo>
                  <a:cubicBezTo>
                    <a:pt x="122" y="30"/>
                    <a:pt x="138" y="20"/>
                    <a:pt x="154" y="20"/>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Atomic">
              <a:extLst>
                <a:ext uri="{FF2B5EF4-FFF2-40B4-BE49-F238E27FC236}">
                  <a16:creationId xmlns:a16="http://schemas.microsoft.com/office/drawing/2014/main" id="{5B9AD3FD-094E-4907-B954-DD8DB1FF1790}"/>
                </a:ext>
              </a:extLst>
            </p:cNvPr>
            <p:cNvSpPr>
              <a:spLocks noEditPoints="1"/>
            </p:cNvSpPr>
            <p:nvPr>
              <p:custDataLst>
                <p:tags r:id="rId3"/>
              </p:custDataLst>
            </p:nvPr>
          </p:nvSpPr>
          <p:spPr bwMode="auto">
            <a:xfrm>
              <a:off x="88" y="93"/>
              <a:ext cx="317" cy="303"/>
            </a:xfrm>
            <a:custGeom>
              <a:avLst/>
              <a:gdLst>
                <a:gd name="T0" fmla="*/ 667 w 688"/>
                <a:gd name="T1" fmla="*/ 23 h 655"/>
                <a:gd name="T2" fmla="*/ 596 w 688"/>
                <a:gd name="T3" fmla="*/ 3 h 655"/>
                <a:gd name="T4" fmla="*/ 494 w 688"/>
                <a:gd name="T5" fmla="*/ 34 h 655"/>
                <a:gd name="T6" fmla="*/ 239 w 688"/>
                <a:gd name="T7" fmla="*/ 216 h 655"/>
                <a:gd name="T8" fmla="*/ 42 w 688"/>
                <a:gd name="T9" fmla="*/ 459 h 655"/>
                <a:gd name="T10" fmla="*/ 5 w 688"/>
                <a:gd name="T11" fmla="*/ 560 h 655"/>
                <a:gd name="T12" fmla="*/ 21 w 688"/>
                <a:gd name="T13" fmla="*/ 632 h 655"/>
                <a:gd name="T14" fmla="*/ 93 w 688"/>
                <a:gd name="T15" fmla="*/ 653 h 655"/>
                <a:gd name="T16" fmla="*/ 195 w 688"/>
                <a:gd name="T17" fmla="*/ 621 h 655"/>
                <a:gd name="T18" fmla="*/ 450 w 688"/>
                <a:gd name="T19" fmla="*/ 440 h 655"/>
                <a:gd name="T20" fmla="*/ 646 w 688"/>
                <a:gd name="T21" fmla="*/ 196 h 655"/>
                <a:gd name="T22" fmla="*/ 684 w 688"/>
                <a:gd name="T23" fmla="*/ 96 h 655"/>
                <a:gd name="T24" fmla="*/ 667 w 688"/>
                <a:gd name="T25" fmla="*/ 23 h 655"/>
                <a:gd name="T26" fmla="*/ 653 w 688"/>
                <a:gd name="T27" fmla="*/ 37 h 655"/>
                <a:gd name="T28" fmla="*/ 664 w 688"/>
                <a:gd name="T29" fmla="*/ 92 h 655"/>
                <a:gd name="T30" fmla="*/ 629 w 688"/>
                <a:gd name="T31" fmla="*/ 186 h 655"/>
                <a:gd name="T32" fmla="*/ 436 w 688"/>
                <a:gd name="T33" fmla="*/ 425 h 655"/>
                <a:gd name="T34" fmla="*/ 187 w 688"/>
                <a:gd name="T35" fmla="*/ 603 h 655"/>
                <a:gd name="T36" fmla="*/ 91 w 688"/>
                <a:gd name="T37" fmla="*/ 633 h 655"/>
                <a:gd name="T38" fmla="*/ 36 w 688"/>
                <a:gd name="T39" fmla="*/ 618 h 655"/>
                <a:gd name="T40" fmla="*/ 25 w 688"/>
                <a:gd name="T41" fmla="*/ 562 h 655"/>
                <a:gd name="T42" fmla="*/ 60 w 688"/>
                <a:gd name="T43" fmla="*/ 469 h 655"/>
                <a:gd name="T44" fmla="*/ 253 w 688"/>
                <a:gd name="T45" fmla="*/ 230 h 655"/>
                <a:gd name="T46" fmla="*/ 502 w 688"/>
                <a:gd name="T47" fmla="*/ 52 h 655"/>
                <a:gd name="T48" fmla="*/ 598 w 688"/>
                <a:gd name="T49" fmla="*/ 22 h 655"/>
                <a:gd name="T50" fmla="*/ 653 w 688"/>
                <a:gd name="T51" fmla="*/ 37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8" h="655">
                  <a:moveTo>
                    <a:pt x="667" y="23"/>
                  </a:moveTo>
                  <a:cubicBezTo>
                    <a:pt x="651" y="6"/>
                    <a:pt x="626" y="0"/>
                    <a:pt x="596" y="3"/>
                  </a:cubicBezTo>
                  <a:cubicBezTo>
                    <a:pt x="566" y="5"/>
                    <a:pt x="532" y="16"/>
                    <a:pt x="494" y="34"/>
                  </a:cubicBezTo>
                  <a:cubicBezTo>
                    <a:pt x="417" y="69"/>
                    <a:pt x="327" y="133"/>
                    <a:pt x="239" y="216"/>
                  </a:cubicBezTo>
                  <a:cubicBezTo>
                    <a:pt x="151" y="298"/>
                    <a:pt x="82" y="385"/>
                    <a:pt x="42" y="459"/>
                  </a:cubicBezTo>
                  <a:cubicBezTo>
                    <a:pt x="22" y="496"/>
                    <a:pt x="9" y="530"/>
                    <a:pt x="5" y="560"/>
                  </a:cubicBezTo>
                  <a:cubicBezTo>
                    <a:pt x="0" y="589"/>
                    <a:pt x="5" y="615"/>
                    <a:pt x="21" y="632"/>
                  </a:cubicBezTo>
                  <a:cubicBezTo>
                    <a:pt x="38" y="649"/>
                    <a:pt x="63" y="655"/>
                    <a:pt x="93" y="653"/>
                  </a:cubicBezTo>
                  <a:cubicBezTo>
                    <a:pt x="122" y="650"/>
                    <a:pt x="157" y="639"/>
                    <a:pt x="195" y="621"/>
                  </a:cubicBezTo>
                  <a:cubicBezTo>
                    <a:pt x="271" y="586"/>
                    <a:pt x="362" y="522"/>
                    <a:pt x="450" y="440"/>
                  </a:cubicBezTo>
                  <a:cubicBezTo>
                    <a:pt x="538" y="357"/>
                    <a:pt x="606" y="270"/>
                    <a:pt x="646" y="196"/>
                  </a:cubicBezTo>
                  <a:cubicBezTo>
                    <a:pt x="666" y="159"/>
                    <a:pt x="679" y="125"/>
                    <a:pt x="684" y="96"/>
                  </a:cubicBezTo>
                  <a:cubicBezTo>
                    <a:pt x="688" y="66"/>
                    <a:pt x="684" y="40"/>
                    <a:pt x="667" y="23"/>
                  </a:cubicBezTo>
                  <a:close/>
                  <a:moveTo>
                    <a:pt x="653" y="37"/>
                  </a:moveTo>
                  <a:cubicBezTo>
                    <a:pt x="664" y="48"/>
                    <a:pt x="668" y="67"/>
                    <a:pt x="664" y="92"/>
                  </a:cubicBezTo>
                  <a:cubicBezTo>
                    <a:pt x="660" y="118"/>
                    <a:pt x="648" y="151"/>
                    <a:pt x="629" y="186"/>
                  </a:cubicBezTo>
                  <a:cubicBezTo>
                    <a:pt x="590" y="258"/>
                    <a:pt x="523" y="343"/>
                    <a:pt x="436" y="425"/>
                  </a:cubicBezTo>
                  <a:cubicBezTo>
                    <a:pt x="350" y="507"/>
                    <a:pt x="260" y="569"/>
                    <a:pt x="187" y="603"/>
                  </a:cubicBezTo>
                  <a:cubicBezTo>
                    <a:pt x="150" y="620"/>
                    <a:pt x="117" y="630"/>
                    <a:pt x="91" y="633"/>
                  </a:cubicBezTo>
                  <a:cubicBezTo>
                    <a:pt x="65" y="635"/>
                    <a:pt x="46" y="630"/>
                    <a:pt x="36" y="618"/>
                  </a:cubicBezTo>
                  <a:cubicBezTo>
                    <a:pt x="25" y="607"/>
                    <a:pt x="21" y="588"/>
                    <a:pt x="25" y="562"/>
                  </a:cubicBezTo>
                  <a:cubicBezTo>
                    <a:pt x="29" y="537"/>
                    <a:pt x="41" y="504"/>
                    <a:pt x="60" y="469"/>
                  </a:cubicBezTo>
                  <a:cubicBezTo>
                    <a:pt x="99" y="397"/>
                    <a:pt x="166" y="312"/>
                    <a:pt x="253" y="230"/>
                  </a:cubicBezTo>
                  <a:cubicBezTo>
                    <a:pt x="339" y="149"/>
                    <a:pt x="428" y="86"/>
                    <a:pt x="502" y="52"/>
                  </a:cubicBezTo>
                  <a:cubicBezTo>
                    <a:pt x="539" y="35"/>
                    <a:pt x="572" y="25"/>
                    <a:pt x="598" y="22"/>
                  </a:cubicBezTo>
                  <a:cubicBezTo>
                    <a:pt x="624" y="20"/>
                    <a:pt x="642" y="25"/>
                    <a:pt x="653" y="37"/>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Atomic">
              <a:extLst>
                <a:ext uri="{FF2B5EF4-FFF2-40B4-BE49-F238E27FC236}">
                  <a16:creationId xmlns:a16="http://schemas.microsoft.com/office/drawing/2014/main" id="{AB379A85-F99F-40CE-B2DC-6C6C79352F9A}"/>
                </a:ext>
              </a:extLst>
            </p:cNvPr>
            <p:cNvSpPr>
              <a:spLocks noEditPoints="1"/>
            </p:cNvSpPr>
            <p:nvPr>
              <p:custDataLst>
                <p:tags r:id="rId4"/>
              </p:custDataLst>
            </p:nvPr>
          </p:nvSpPr>
          <p:spPr bwMode="auto">
            <a:xfrm>
              <a:off x="62" y="125"/>
              <a:ext cx="369" cy="239"/>
            </a:xfrm>
            <a:custGeom>
              <a:avLst/>
              <a:gdLst>
                <a:gd name="T0" fmla="*/ 787 w 799"/>
                <a:gd name="T1" fmla="*/ 475 h 517"/>
                <a:gd name="T2" fmla="*/ 785 w 799"/>
                <a:gd name="T3" fmla="*/ 401 h 517"/>
                <a:gd name="T4" fmla="*/ 724 w 799"/>
                <a:gd name="T5" fmla="*/ 312 h 517"/>
                <a:gd name="T6" fmla="*/ 474 w 799"/>
                <a:gd name="T7" fmla="*/ 124 h 517"/>
                <a:gd name="T8" fmla="*/ 183 w 799"/>
                <a:gd name="T9" fmla="*/ 10 h 517"/>
                <a:gd name="T10" fmla="*/ 76 w 799"/>
                <a:gd name="T11" fmla="*/ 5 h 517"/>
                <a:gd name="T12" fmla="*/ 12 w 799"/>
                <a:gd name="T13" fmla="*/ 42 h 517"/>
                <a:gd name="T14" fmla="*/ 13 w 799"/>
                <a:gd name="T15" fmla="*/ 117 h 517"/>
                <a:gd name="T16" fmla="*/ 74 w 799"/>
                <a:gd name="T17" fmla="*/ 205 h 517"/>
                <a:gd name="T18" fmla="*/ 324 w 799"/>
                <a:gd name="T19" fmla="*/ 393 h 517"/>
                <a:gd name="T20" fmla="*/ 616 w 799"/>
                <a:gd name="T21" fmla="*/ 507 h 517"/>
                <a:gd name="T22" fmla="*/ 723 w 799"/>
                <a:gd name="T23" fmla="*/ 512 h 517"/>
                <a:gd name="T24" fmla="*/ 787 w 799"/>
                <a:gd name="T25" fmla="*/ 475 h 517"/>
                <a:gd name="T26" fmla="*/ 770 w 799"/>
                <a:gd name="T27" fmla="*/ 465 h 517"/>
                <a:gd name="T28" fmla="*/ 720 w 799"/>
                <a:gd name="T29" fmla="*/ 492 h 517"/>
                <a:gd name="T30" fmla="*/ 620 w 799"/>
                <a:gd name="T31" fmla="*/ 487 h 517"/>
                <a:gd name="T32" fmla="*/ 334 w 799"/>
                <a:gd name="T33" fmla="*/ 376 h 517"/>
                <a:gd name="T34" fmla="*/ 89 w 799"/>
                <a:gd name="T35" fmla="*/ 191 h 517"/>
                <a:gd name="T36" fmla="*/ 32 w 799"/>
                <a:gd name="T37" fmla="*/ 109 h 517"/>
                <a:gd name="T38" fmla="*/ 29 w 799"/>
                <a:gd name="T39" fmla="*/ 52 h 517"/>
                <a:gd name="T40" fmla="*/ 79 w 799"/>
                <a:gd name="T41" fmla="*/ 25 h 517"/>
                <a:gd name="T42" fmla="*/ 179 w 799"/>
                <a:gd name="T43" fmla="*/ 30 h 517"/>
                <a:gd name="T44" fmla="*/ 465 w 799"/>
                <a:gd name="T45" fmla="*/ 142 h 517"/>
                <a:gd name="T46" fmla="*/ 710 w 799"/>
                <a:gd name="T47" fmla="*/ 326 h 517"/>
                <a:gd name="T48" fmla="*/ 767 w 799"/>
                <a:gd name="T49" fmla="*/ 408 h 517"/>
                <a:gd name="T50" fmla="*/ 770 w 799"/>
                <a:gd name="T51" fmla="*/ 465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9" h="517">
                  <a:moveTo>
                    <a:pt x="787" y="475"/>
                  </a:moveTo>
                  <a:cubicBezTo>
                    <a:pt x="799" y="454"/>
                    <a:pt x="796" y="428"/>
                    <a:pt x="785" y="401"/>
                  </a:cubicBezTo>
                  <a:cubicBezTo>
                    <a:pt x="774" y="373"/>
                    <a:pt x="753" y="343"/>
                    <a:pt x="724" y="312"/>
                  </a:cubicBezTo>
                  <a:cubicBezTo>
                    <a:pt x="667" y="250"/>
                    <a:pt x="580" y="183"/>
                    <a:pt x="474" y="124"/>
                  </a:cubicBezTo>
                  <a:cubicBezTo>
                    <a:pt x="369" y="65"/>
                    <a:pt x="265" y="26"/>
                    <a:pt x="183" y="10"/>
                  </a:cubicBezTo>
                  <a:cubicBezTo>
                    <a:pt x="141" y="2"/>
                    <a:pt x="105" y="0"/>
                    <a:pt x="76" y="5"/>
                  </a:cubicBezTo>
                  <a:cubicBezTo>
                    <a:pt x="46" y="10"/>
                    <a:pt x="23" y="21"/>
                    <a:pt x="12" y="42"/>
                  </a:cubicBezTo>
                  <a:cubicBezTo>
                    <a:pt x="0" y="63"/>
                    <a:pt x="2" y="89"/>
                    <a:pt x="13" y="117"/>
                  </a:cubicBezTo>
                  <a:cubicBezTo>
                    <a:pt x="25" y="144"/>
                    <a:pt x="46" y="174"/>
                    <a:pt x="74" y="205"/>
                  </a:cubicBezTo>
                  <a:cubicBezTo>
                    <a:pt x="131" y="267"/>
                    <a:pt x="219" y="334"/>
                    <a:pt x="324" y="393"/>
                  </a:cubicBezTo>
                  <a:cubicBezTo>
                    <a:pt x="430" y="452"/>
                    <a:pt x="533" y="491"/>
                    <a:pt x="616" y="507"/>
                  </a:cubicBezTo>
                  <a:cubicBezTo>
                    <a:pt x="657" y="515"/>
                    <a:pt x="693" y="517"/>
                    <a:pt x="723" y="512"/>
                  </a:cubicBezTo>
                  <a:cubicBezTo>
                    <a:pt x="752" y="508"/>
                    <a:pt x="776" y="496"/>
                    <a:pt x="787" y="475"/>
                  </a:cubicBezTo>
                  <a:close/>
                  <a:moveTo>
                    <a:pt x="770" y="465"/>
                  </a:moveTo>
                  <a:cubicBezTo>
                    <a:pt x="762" y="479"/>
                    <a:pt x="746" y="488"/>
                    <a:pt x="720" y="492"/>
                  </a:cubicBezTo>
                  <a:cubicBezTo>
                    <a:pt x="694" y="496"/>
                    <a:pt x="660" y="495"/>
                    <a:pt x="620" y="487"/>
                  </a:cubicBezTo>
                  <a:cubicBezTo>
                    <a:pt x="540" y="472"/>
                    <a:pt x="438" y="434"/>
                    <a:pt x="334" y="376"/>
                  </a:cubicBezTo>
                  <a:cubicBezTo>
                    <a:pt x="230" y="318"/>
                    <a:pt x="144" y="251"/>
                    <a:pt x="89" y="191"/>
                  </a:cubicBezTo>
                  <a:cubicBezTo>
                    <a:pt x="62" y="162"/>
                    <a:pt x="42" y="133"/>
                    <a:pt x="32" y="109"/>
                  </a:cubicBezTo>
                  <a:cubicBezTo>
                    <a:pt x="22" y="85"/>
                    <a:pt x="21" y="66"/>
                    <a:pt x="29" y="52"/>
                  </a:cubicBezTo>
                  <a:cubicBezTo>
                    <a:pt x="37" y="38"/>
                    <a:pt x="53" y="29"/>
                    <a:pt x="79" y="25"/>
                  </a:cubicBezTo>
                  <a:cubicBezTo>
                    <a:pt x="105" y="21"/>
                    <a:pt x="139" y="23"/>
                    <a:pt x="179" y="30"/>
                  </a:cubicBezTo>
                  <a:cubicBezTo>
                    <a:pt x="259" y="45"/>
                    <a:pt x="361" y="84"/>
                    <a:pt x="465" y="142"/>
                  </a:cubicBezTo>
                  <a:cubicBezTo>
                    <a:pt x="568" y="200"/>
                    <a:pt x="655" y="266"/>
                    <a:pt x="710" y="326"/>
                  </a:cubicBezTo>
                  <a:cubicBezTo>
                    <a:pt x="737" y="356"/>
                    <a:pt x="757" y="384"/>
                    <a:pt x="767" y="408"/>
                  </a:cubicBezTo>
                  <a:cubicBezTo>
                    <a:pt x="777" y="432"/>
                    <a:pt x="777" y="451"/>
                    <a:pt x="770" y="465"/>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Atomic">
              <a:extLst>
                <a:ext uri="{FF2B5EF4-FFF2-40B4-BE49-F238E27FC236}">
                  <a16:creationId xmlns:a16="http://schemas.microsoft.com/office/drawing/2014/main" id="{C8940334-9FA1-4D52-9D8D-352A8D4E5578}"/>
                </a:ext>
              </a:extLst>
            </p:cNvPr>
            <p:cNvSpPr>
              <a:spLocks noChangeArrowheads="1"/>
            </p:cNvSpPr>
            <p:nvPr>
              <p:custDataLst>
                <p:tags r:id="rId5"/>
              </p:custDataLst>
            </p:nvPr>
          </p:nvSpPr>
          <p:spPr bwMode="auto">
            <a:xfrm>
              <a:off x="70" y="180"/>
              <a:ext cx="37" cy="38"/>
            </a:xfrm>
            <a:prstGeom prst="ellipse">
              <a:avLst/>
            </a:pr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Atomic">
              <a:extLst>
                <a:ext uri="{FF2B5EF4-FFF2-40B4-BE49-F238E27FC236}">
                  <a16:creationId xmlns:a16="http://schemas.microsoft.com/office/drawing/2014/main" id="{ADFE4B79-B070-43F2-A013-772123CFF36E}"/>
                </a:ext>
              </a:extLst>
            </p:cNvPr>
            <p:cNvSpPr>
              <a:spLocks noChangeArrowheads="1"/>
            </p:cNvSpPr>
            <p:nvPr>
              <p:custDataLst>
                <p:tags r:id="rId6"/>
              </p:custDataLst>
            </p:nvPr>
          </p:nvSpPr>
          <p:spPr bwMode="auto">
            <a:xfrm>
              <a:off x="351" y="183"/>
              <a:ext cx="37" cy="37"/>
            </a:xfrm>
            <a:prstGeom prst="ellipse">
              <a:avLst/>
            </a:pr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Atomic">
              <a:extLst>
                <a:ext uri="{FF2B5EF4-FFF2-40B4-BE49-F238E27FC236}">
                  <a16:creationId xmlns:a16="http://schemas.microsoft.com/office/drawing/2014/main" id="{47C83664-1D25-4835-B99D-D394E031A901}"/>
                </a:ext>
              </a:extLst>
            </p:cNvPr>
            <p:cNvSpPr>
              <a:spLocks noChangeArrowheads="1"/>
            </p:cNvSpPr>
            <p:nvPr>
              <p:custDataLst>
                <p:tags r:id="rId7"/>
              </p:custDataLst>
            </p:nvPr>
          </p:nvSpPr>
          <p:spPr bwMode="auto">
            <a:xfrm>
              <a:off x="278" y="362"/>
              <a:ext cx="38" cy="37"/>
            </a:xfrm>
            <a:prstGeom prst="ellipse">
              <a:avLst/>
            </a:pr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Atomic">
              <a:extLst>
                <a:ext uri="{FF2B5EF4-FFF2-40B4-BE49-F238E27FC236}">
                  <a16:creationId xmlns:a16="http://schemas.microsoft.com/office/drawing/2014/main" id="{2D7C98AD-93F9-4008-A2E7-61C12B9E24A4}"/>
                </a:ext>
              </a:extLst>
            </p:cNvPr>
            <p:cNvSpPr>
              <a:spLocks/>
            </p:cNvSpPr>
            <p:nvPr>
              <p:custDataLst>
                <p:tags r:id="rId8"/>
              </p:custDataLst>
            </p:nvPr>
          </p:nvSpPr>
          <p:spPr bwMode="auto">
            <a:xfrm>
              <a:off x="209" y="212"/>
              <a:ext cx="42" cy="37"/>
            </a:xfrm>
            <a:custGeom>
              <a:avLst/>
              <a:gdLst>
                <a:gd name="T0" fmla="*/ 48 w 91"/>
                <a:gd name="T1" fmla="*/ 0 h 81"/>
                <a:gd name="T2" fmla="*/ 0 w 91"/>
                <a:gd name="T3" fmla="*/ 50 h 81"/>
                <a:gd name="T4" fmla="*/ 11 w 91"/>
                <a:gd name="T5" fmla="*/ 81 h 81"/>
                <a:gd name="T6" fmla="*/ 59 w 91"/>
                <a:gd name="T7" fmla="*/ 59 h 81"/>
                <a:gd name="T8" fmla="*/ 60 w 91"/>
                <a:gd name="T9" fmla="*/ 59 h 81"/>
                <a:gd name="T10" fmla="*/ 91 w 91"/>
                <a:gd name="T11" fmla="*/ 28 h 81"/>
                <a:gd name="T12" fmla="*/ 48 w 91"/>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91" h="81">
                  <a:moveTo>
                    <a:pt x="48" y="0"/>
                  </a:moveTo>
                  <a:cubicBezTo>
                    <a:pt x="22" y="0"/>
                    <a:pt x="0" y="23"/>
                    <a:pt x="0" y="50"/>
                  </a:cubicBezTo>
                  <a:cubicBezTo>
                    <a:pt x="0" y="62"/>
                    <a:pt x="4" y="73"/>
                    <a:pt x="11" y="81"/>
                  </a:cubicBezTo>
                  <a:cubicBezTo>
                    <a:pt x="23" y="68"/>
                    <a:pt x="40" y="59"/>
                    <a:pt x="59" y="59"/>
                  </a:cubicBezTo>
                  <a:cubicBezTo>
                    <a:pt x="59" y="59"/>
                    <a:pt x="60" y="59"/>
                    <a:pt x="60" y="59"/>
                  </a:cubicBezTo>
                  <a:cubicBezTo>
                    <a:pt x="67" y="45"/>
                    <a:pt x="78" y="34"/>
                    <a:pt x="91" y="28"/>
                  </a:cubicBezTo>
                  <a:cubicBezTo>
                    <a:pt x="83" y="12"/>
                    <a:pt x="67" y="0"/>
                    <a:pt x="48" y="0"/>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Atomic">
              <a:extLst>
                <a:ext uri="{FF2B5EF4-FFF2-40B4-BE49-F238E27FC236}">
                  <a16:creationId xmlns:a16="http://schemas.microsoft.com/office/drawing/2014/main" id="{410A5509-157B-4F70-9FE3-32AE10375D32}"/>
                </a:ext>
              </a:extLst>
            </p:cNvPr>
            <p:cNvSpPr>
              <a:spLocks/>
            </p:cNvSpPr>
            <p:nvPr>
              <p:custDataLst>
                <p:tags r:id="rId9"/>
              </p:custDataLst>
            </p:nvPr>
          </p:nvSpPr>
          <p:spPr bwMode="auto">
            <a:xfrm>
              <a:off x="212" y="244"/>
              <a:ext cx="40" cy="46"/>
            </a:xfrm>
            <a:custGeom>
              <a:avLst/>
              <a:gdLst>
                <a:gd name="T0" fmla="*/ 49 w 87"/>
                <a:gd name="T1" fmla="*/ 0 h 100"/>
                <a:gd name="T2" fmla="*/ 0 w 87"/>
                <a:gd name="T3" fmla="*/ 50 h 100"/>
                <a:gd name="T4" fmla="*/ 49 w 87"/>
                <a:gd name="T5" fmla="*/ 100 h 100"/>
                <a:gd name="T6" fmla="*/ 87 w 87"/>
                <a:gd name="T7" fmla="*/ 81 h 100"/>
                <a:gd name="T8" fmla="*/ 51 w 87"/>
                <a:gd name="T9" fmla="*/ 20 h 100"/>
                <a:gd name="T10" fmla="*/ 54 w 87"/>
                <a:gd name="T11" fmla="*/ 0 h 100"/>
                <a:gd name="T12" fmla="*/ 49 w 87"/>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7" h="100">
                  <a:moveTo>
                    <a:pt x="49" y="0"/>
                  </a:moveTo>
                  <a:cubicBezTo>
                    <a:pt x="22" y="0"/>
                    <a:pt x="0" y="23"/>
                    <a:pt x="0" y="50"/>
                  </a:cubicBezTo>
                  <a:cubicBezTo>
                    <a:pt x="0" y="78"/>
                    <a:pt x="22" y="100"/>
                    <a:pt x="49" y="100"/>
                  </a:cubicBezTo>
                  <a:cubicBezTo>
                    <a:pt x="64" y="100"/>
                    <a:pt x="78" y="93"/>
                    <a:pt x="87" y="81"/>
                  </a:cubicBezTo>
                  <a:cubicBezTo>
                    <a:pt x="66" y="69"/>
                    <a:pt x="51" y="46"/>
                    <a:pt x="51" y="20"/>
                  </a:cubicBezTo>
                  <a:cubicBezTo>
                    <a:pt x="51" y="13"/>
                    <a:pt x="52" y="7"/>
                    <a:pt x="54" y="0"/>
                  </a:cubicBezTo>
                  <a:cubicBezTo>
                    <a:pt x="52" y="0"/>
                    <a:pt x="51" y="0"/>
                    <a:pt x="49" y="0"/>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Atomic">
              <a:extLst>
                <a:ext uri="{FF2B5EF4-FFF2-40B4-BE49-F238E27FC236}">
                  <a16:creationId xmlns:a16="http://schemas.microsoft.com/office/drawing/2014/main" id="{B307AD9E-B259-4704-B0AB-D4E0EC866AA2}"/>
                </a:ext>
              </a:extLst>
            </p:cNvPr>
            <p:cNvSpPr>
              <a:spLocks/>
            </p:cNvSpPr>
            <p:nvPr>
              <p:custDataLst>
                <p:tags r:id="rId10"/>
              </p:custDataLst>
            </p:nvPr>
          </p:nvSpPr>
          <p:spPr bwMode="auto">
            <a:xfrm>
              <a:off x="239" y="216"/>
              <a:ext cx="52" cy="63"/>
            </a:xfrm>
            <a:custGeom>
              <a:avLst/>
              <a:gdLst>
                <a:gd name="T0" fmla="*/ 112 w 112"/>
                <a:gd name="T1" fmla="*/ 77 h 135"/>
                <a:gd name="T2" fmla="*/ 56 w 112"/>
                <a:gd name="T3" fmla="*/ 135 h 135"/>
                <a:gd name="T4" fmla="*/ 0 w 112"/>
                <a:gd name="T5" fmla="*/ 77 h 135"/>
                <a:gd name="T6" fmla="*/ 112 w 112"/>
                <a:gd name="T7" fmla="*/ 77 h 135"/>
              </a:gdLst>
              <a:ahLst/>
              <a:cxnLst>
                <a:cxn ang="0">
                  <a:pos x="T0" y="T1"/>
                </a:cxn>
                <a:cxn ang="0">
                  <a:pos x="T2" y="T3"/>
                </a:cxn>
                <a:cxn ang="0">
                  <a:pos x="T4" y="T5"/>
                </a:cxn>
                <a:cxn ang="0">
                  <a:pos x="T6" y="T7"/>
                </a:cxn>
              </a:cxnLst>
              <a:rect l="0" t="0" r="r" b="b"/>
              <a:pathLst>
                <a:path w="112" h="135">
                  <a:moveTo>
                    <a:pt x="112" y="77"/>
                  </a:moveTo>
                  <a:cubicBezTo>
                    <a:pt x="112" y="109"/>
                    <a:pt x="87" y="135"/>
                    <a:pt x="56" y="135"/>
                  </a:cubicBezTo>
                  <a:cubicBezTo>
                    <a:pt x="25" y="135"/>
                    <a:pt x="0" y="109"/>
                    <a:pt x="0" y="77"/>
                  </a:cubicBezTo>
                  <a:cubicBezTo>
                    <a:pt x="0" y="0"/>
                    <a:pt x="112" y="0"/>
                    <a:pt x="112" y="77"/>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552134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66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300" fill="hold"/>
                                        <p:tgtEl>
                                          <p:spTgt spid="14"/>
                                        </p:tgtEl>
                                        <p:attrNameLst>
                                          <p:attrName>ppt_x</p:attrName>
                                        </p:attrNameLst>
                                      </p:cBhvr>
                                      <p:tavLst>
                                        <p:tav tm="0">
                                          <p:val>
                                            <p:strVal val="#ppt_x"/>
                                          </p:val>
                                        </p:tav>
                                        <p:tav tm="100000">
                                          <p:val>
                                            <p:strVal val="#ppt_x"/>
                                          </p:val>
                                        </p:tav>
                                      </p:tavLst>
                                    </p:anim>
                                    <p:anim calcmode="lin" valueType="num">
                                      <p:cBhvr additive="base">
                                        <p:cTn id="8" dur="300" fill="hold"/>
                                        <p:tgtEl>
                                          <p:spTgt spid="14"/>
                                        </p:tgtEl>
                                        <p:attrNameLst>
                                          <p:attrName>ppt_y</p:attrName>
                                        </p:attrNameLst>
                                      </p:cBhvr>
                                      <p:tavLst>
                                        <p:tav tm="0">
                                          <p:val>
                                            <p:strVal val="0-#ppt_h/2"/>
                                          </p:val>
                                        </p:tav>
                                        <p:tav tm="100000">
                                          <p:val>
                                            <p:strVal val="#ppt_y"/>
                                          </p:val>
                                        </p:tav>
                                      </p:tavLst>
                                    </p:anim>
                                  </p:childTnLst>
                                </p:cTn>
                              </p:par>
                              <p:par>
                                <p:cTn id="9" presetID="2" presetClass="entr" presetSubtype="4" decel="66667"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300" fill="hold"/>
                                        <p:tgtEl>
                                          <p:spTgt spid="15"/>
                                        </p:tgtEl>
                                        <p:attrNameLst>
                                          <p:attrName>ppt_x</p:attrName>
                                        </p:attrNameLst>
                                      </p:cBhvr>
                                      <p:tavLst>
                                        <p:tav tm="0">
                                          <p:val>
                                            <p:strVal val="#ppt_x"/>
                                          </p:val>
                                        </p:tav>
                                        <p:tav tm="100000">
                                          <p:val>
                                            <p:strVal val="#ppt_x"/>
                                          </p:val>
                                        </p:tav>
                                      </p:tavLst>
                                    </p:anim>
                                    <p:anim calcmode="lin" valueType="num">
                                      <p:cBhvr additive="base">
                                        <p:cTn id="12" dur="3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8" decel="6600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300" fill="hold"/>
                                        <p:tgtEl>
                                          <p:spTgt spid="12"/>
                                        </p:tgtEl>
                                        <p:attrNameLst>
                                          <p:attrName>ppt_x</p:attrName>
                                        </p:attrNameLst>
                                      </p:cBhvr>
                                      <p:tavLst>
                                        <p:tav tm="0">
                                          <p:val>
                                            <p:strVal val="0-#ppt_w/2"/>
                                          </p:val>
                                        </p:tav>
                                        <p:tav tm="100000">
                                          <p:val>
                                            <p:strVal val="#ppt_x"/>
                                          </p:val>
                                        </p:tav>
                                      </p:tavLst>
                                    </p:anim>
                                    <p:anim calcmode="lin" valueType="num">
                                      <p:cBhvr additive="base">
                                        <p:cTn id="16" dur="300" fill="hold"/>
                                        <p:tgtEl>
                                          <p:spTgt spid="12"/>
                                        </p:tgtEl>
                                        <p:attrNameLst>
                                          <p:attrName>ppt_y</p:attrName>
                                        </p:attrNameLst>
                                      </p:cBhvr>
                                      <p:tavLst>
                                        <p:tav tm="0">
                                          <p:val>
                                            <p:strVal val="#ppt_y"/>
                                          </p:val>
                                        </p:tav>
                                        <p:tav tm="100000">
                                          <p:val>
                                            <p:strVal val="#ppt_y"/>
                                          </p:val>
                                        </p:tav>
                                      </p:tavLst>
                                    </p:anim>
                                  </p:childTnLst>
                                </p:cTn>
                              </p:par>
                            </p:childTnLst>
                          </p:cTn>
                        </p:par>
                        <p:par>
                          <p:cTn id="17" fill="hold">
                            <p:stCondLst>
                              <p:cond delay="300"/>
                            </p:stCondLst>
                            <p:childTnLst>
                              <p:par>
                                <p:cTn id="18" presetID="1" presetClass="entr" presetSubtype="0" fill="hold" grpId="0" nodeType="afterEffect">
                                  <p:stCondLst>
                                    <p:cond delay="0"/>
                                  </p:stCondLst>
                                  <p:iterate type="lt">
                                    <p:tmAbs val="50"/>
                                  </p:iterate>
                                  <p:childTnLst>
                                    <p:set>
                                      <p:cBhvr>
                                        <p:cTn id="19"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3382994C-EFFB-4DD3-BFEE-BF8CC4BEB796}"/>
              </a:ext>
            </a:extLst>
          </p:cNvPr>
          <p:cNvGrpSpPr/>
          <p:nvPr/>
        </p:nvGrpSpPr>
        <p:grpSpPr>
          <a:xfrm>
            <a:off x="923312" y="2094292"/>
            <a:ext cx="10278222" cy="2018955"/>
            <a:chOff x="923312" y="2094292"/>
            <a:chExt cx="10278222" cy="2018955"/>
          </a:xfrm>
        </p:grpSpPr>
        <p:cxnSp>
          <p:nvCxnSpPr>
            <p:cNvPr id="14" name="Straight Connector 13">
              <a:extLst>
                <a:ext uri="{FF2B5EF4-FFF2-40B4-BE49-F238E27FC236}">
                  <a16:creationId xmlns:a16="http://schemas.microsoft.com/office/drawing/2014/main" id="{A0590206-0ED7-4C9C-A08F-015B611652EF}"/>
                </a:ext>
              </a:extLst>
            </p:cNvPr>
            <p:cNvCxnSpPr>
              <a:cxnSpLocks/>
            </p:cNvCxnSpPr>
            <p:nvPr/>
          </p:nvCxnSpPr>
          <p:spPr>
            <a:xfrm>
              <a:off x="2486998" y="2617938"/>
              <a:ext cx="8295302" cy="0"/>
            </a:xfrm>
            <a:prstGeom prst="line">
              <a:avLst/>
            </a:prstGeom>
            <a:ln w="28575">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3C2B16DD-F023-4029-9C7E-B906517F9E25}"/>
                </a:ext>
              </a:extLst>
            </p:cNvPr>
            <p:cNvSpPr txBox="1">
              <a:spLocks/>
            </p:cNvSpPr>
            <p:nvPr/>
          </p:nvSpPr>
          <p:spPr>
            <a:xfrm>
              <a:off x="2057534" y="2724839"/>
              <a:ext cx="9144000" cy="1388408"/>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SG" sz="11500" dirty="0">
                  <a:solidFill>
                    <a:schemeClr val="bg1"/>
                  </a:solidFill>
                  <a:latin typeface="Bebas Neue" panose="020B0606020202050201" pitchFamily="34" charset="0"/>
                </a:rPr>
                <a:t>Our progress so far</a:t>
              </a:r>
            </a:p>
          </p:txBody>
        </p:sp>
        <p:cxnSp>
          <p:nvCxnSpPr>
            <p:cNvPr id="15" name="Straight Connector 14">
              <a:extLst>
                <a:ext uri="{FF2B5EF4-FFF2-40B4-BE49-F238E27FC236}">
                  <a16:creationId xmlns:a16="http://schemas.microsoft.com/office/drawing/2014/main" id="{E78CEFD2-5E9F-4E60-B9FC-12B5E4410B92}"/>
                </a:ext>
              </a:extLst>
            </p:cNvPr>
            <p:cNvCxnSpPr>
              <a:cxnSpLocks/>
            </p:cNvCxnSpPr>
            <p:nvPr/>
          </p:nvCxnSpPr>
          <p:spPr>
            <a:xfrm>
              <a:off x="2017276" y="3860105"/>
              <a:ext cx="8794207" cy="0"/>
            </a:xfrm>
            <a:prstGeom prst="line">
              <a:avLst/>
            </a:prstGeom>
            <a:ln w="28575">
              <a:solidFill>
                <a:schemeClr val="bg1"/>
              </a:solidFill>
              <a:prstDash val="lgDash"/>
            </a:ln>
          </p:spPr>
          <p:style>
            <a:lnRef idx="1">
              <a:schemeClr val="accent1"/>
            </a:lnRef>
            <a:fillRef idx="0">
              <a:schemeClr val="accent1"/>
            </a:fillRef>
            <a:effectRef idx="0">
              <a:schemeClr val="accent1"/>
            </a:effectRef>
            <a:fontRef idx="minor">
              <a:schemeClr val="tx1"/>
            </a:fontRef>
          </p:style>
        </p:cxnSp>
        <p:grpSp>
          <p:nvGrpSpPr>
            <p:cNvPr id="12" name="Atomic" descr="{&quot;Key&quot;:&quot;POWER_USER_SHAPE_ICON&quot;,&quot;Value&quot;:&quot;POWER_USER_SHAPE_ICON_STYLE_1&quot;}">
              <a:extLst>
                <a:ext uri="{FF2B5EF4-FFF2-40B4-BE49-F238E27FC236}">
                  <a16:creationId xmlns:a16="http://schemas.microsoft.com/office/drawing/2014/main" id="{BEAB1E8F-119B-4CA1-83AB-CDC5CA4B4C5F}"/>
                </a:ext>
              </a:extLst>
            </p:cNvPr>
            <p:cNvGrpSpPr>
              <a:grpSpLocks noChangeAspect="1"/>
            </p:cNvGrpSpPr>
            <p:nvPr>
              <p:custDataLst>
                <p:tags r:id="rId1"/>
              </p:custDataLst>
            </p:nvPr>
          </p:nvGrpSpPr>
          <p:grpSpPr bwMode="auto">
            <a:xfrm>
              <a:off x="923312" y="2094292"/>
              <a:ext cx="1738978" cy="1936909"/>
              <a:chOff x="62" y="39"/>
              <a:chExt cx="369" cy="411"/>
            </a:xfrm>
            <a:solidFill>
              <a:schemeClr val="bg1"/>
            </a:solidFill>
          </p:grpSpPr>
          <p:sp>
            <p:nvSpPr>
              <p:cNvPr id="13" name="Atomic">
                <a:extLst>
                  <a:ext uri="{FF2B5EF4-FFF2-40B4-BE49-F238E27FC236}">
                    <a16:creationId xmlns:a16="http://schemas.microsoft.com/office/drawing/2014/main" id="{D522FA2A-CA03-4486-BE1D-00F124140A39}"/>
                  </a:ext>
                </a:extLst>
              </p:cNvPr>
              <p:cNvSpPr>
                <a:spLocks noEditPoints="1"/>
              </p:cNvSpPr>
              <p:nvPr>
                <p:custDataLst>
                  <p:tags r:id="rId2"/>
                </p:custDataLst>
              </p:nvPr>
            </p:nvSpPr>
            <p:spPr bwMode="auto">
              <a:xfrm>
                <a:off x="175" y="39"/>
                <a:ext cx="142" cy="411"/>
              </a:xfrm>
              <a:custGeom>
                <a:avLst/>
                <a:gdLst>
                  <a:gd name="T0" fmla="*/ 154 w 308"/>
                  <a:gd name="T1" fmla="*/ 0 h 889"/>
                  <a:gd name="T2" fmla="*/ 90 w 308"/>
                  <a:gd name="T3" fmla="*/ 39 h 889"/>
                  <a:gd name="T4" fmla="*/ 43 w 308"/>
                  <a:gd name="T5" fmla="*/ 135 h 889"/>
                  <a:gd name="T6" fmla="*/ 0 w 308"/>
                  <a:gd name="T7" fmla="*/ 445 h 889"/>
                  <a:gd name="T8" fmla="*/ 43 w 308"/>
                  <a:gd name="T9" fmla="*/ 755 h 889"/>
                  <a:gd name="T10" fmla="*/ 90 w 308"/>
                  <a:gd name="T11" fmla="*/ 851 h 889"/>
                  <a:gd name="T12" fmla="*/ 154 w 308"/>
                  <a:gd name="T13" fmla="*/ 889 h 889"/>
                  <a:gd name="T14" fmla="*/ 218 w 308"/>
                  <a:gd name="T15" fmla="*/ 851 h 889"/>
                  <a:gd name="T16" fmla="*/ 265 w 308"/>
                  <a:gd name="T17" fmla="*/ 755 h 889"/>
                  <a:gd name="T18" fmla="*/ 308 w 308"/>
                  <a:gd name="T19" fmla="*/ 445 h 889"/>
                  <a:gd name="T20" fmla="*/ 265 w 308"/>
                  <a:gd name="T21" fmla="*/ 135 h 889"/>
                  <a:gd name="T22" fmla="*/ 218 w 308"/>
                  <a:gd name="T23" fmla="*/ 39 h 889"/>
                  <a:gd name="T24" fmla="*/ 154 w 308"/>
                  <a:gd name="T25" fmla="*/ 0 h 889"/>
                  <a:gd name="T26" fmla="*/ 154 w 308"/>
                  <a:gd name="T27" fmla="*/ 20 h 889"/>
                  <a:gd name="T28" fmla="*/ 202 w 308"/>
                  <a:gd name="T29" fmla="*/ 51 h 889"/>
                  <a:gd name="T30" fmla="*/ 247 w 308"/>
                  <a:gd name="T31" fmla="*/ 141 h 889"/>
                  <a:gd name="T32" fmla="*/ 288 w 308"/>
                  <a:gd name="T33" fmla="*/ 445 h 889"/>
                  <a:gd name="T34" fmla="*/ 247 w 308"/>
                  <a:gd name="T35" fmla="*/ 748 h 889"/>
                  <a:gd name="T36" fmla="*/ 202 w 308"/>
                  <a:gd name="T37" fmla="*/ 838 h 889"/>
                  <a:gd name="T38" fmla="*/ 154 w 308"/>
                  <a:gd name="T39" fmla="*/ 869 h 889"/>
                  <a:gd name="T40" fmla="*/ 106 w 308"/>
                  <a:gd name="T41" fmla="*/ 838 h 889"/>
                  <a:gd name="T42" fmla="*/ 62 w 308"/>
                  <a:gd name="T43" fmla="*/ 748 h 889"/>
                  <a:gd name="T44" fmla="*/ 20 w 308"/>
                  <a:gd name="T45" fmla="*/ 445 h 889"/>
                  <a:gd name="T46" fmla="*/ 62 w 308"/>
                  <a:gd name="T47" fmla="*/ 141 h 889"/>
                  <a:gd name="T48" fmla="*/ 106 w 308"/>
                  <a:gd name="T49" fmla="*/ 51 h 889"/>
                  <a:gd name="T50" fmla="*/ 154 w 308"/>
                  <a:gd name="T51" fmla="*/ 2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8" h="889">
                    <a:moveTo>
                      <a:pt x="154" y="0"/>
                    </a:moveTo>
                    <a:cubicBezTo>
                      <a:pt x="130" y="0"/>
                      <a:pt x="109" y="15"/>
                      <a:pt x="90" y="39"/>
                    </a:cubicBezTo>
                    <a:cubicBezTo>
                      <a:pt x="72" y="62"/>
                      <a:pt x="56" y="95"/>
                      <a:pt x="43" y="135"/>
                    </a:cubicBezTo>
                    <a:cubicBezTo>
                      <a:pt x="16" y="214"/>
                      <a:pt x="0" y="324"/>
                      <a:pt x="0" y="445"/>
                    </a:cubicBezTo>
                    <a:cubicBezTo>
                      <a:pt x="0" y="565"/>
                      <a:pt x="16" y="675"/>
                      <a:pt x="43" y="755"/>
                    </a:cubicBezTo>
                    <a:cubicBezTo>
                      <a:pt x="56" y="795"/>
                      <a:pt x="72" y="827"/>
                      <a:pt x="90" y="851"/>
                    </a:cubicBezTo>
                    <a:cubicBezTo>
                      <a:pt x="109" y="874"/>
                      <a:pt x="130" y="889"/>
                      <a:pt x="154" y="889"/>
                    </a:cubicBezTo>
                    <a:cubicBezTo>
                      <a:pt x="178" y="889"/>
                      <a:pt x="200" y="874"/>
                      <a:pt x="218" y="851"/>
                    </a:cubicBezTo>
                    <a:cubicBezTo>
                      <a:pt x="237" y="827"/>
                      <a:pt x="252" y="795"/>
                      <a:pt x="265" y="755"/>
                    </a:cubicBezTo>
                    <a:cubicBezTo>
                      <a:pt x="292" y="675"/>
                      <a:pt x="308" y="565"/>
                      <a:pt x="308" y="445"/>
                    </a:cubicBezTo>
                    <a:cubicBezTo>
                      <a:pt x="308" y="324"/>
                      <a:pt x="292" y="214"/>
                      <a:pt x="265" y="135"/>
                    </a:cubicBezTo>
                    <a:cubicBezTo>
                      <a:pt x="252" y="95"/>
                      <a:pt x="237" y="62"/>
                      <a:pt x="218" y="39"/>
                    </a:cubicBezTo>
                    <a:cubicBezTo>
                      <a:pt x="200" y="15"/>
                      <a:pt x="178" y="0"/>
                      <a:pt x="154" y="0"/>
                    </a:cubicBezTo>
                    <a:close/>
                    <a:moveTo>
                      <a:pt x="154" y="20"/>
                    </a:moveTo>
                    <a:cubicBezTo>
                      <a:pt x="170" y="20"/>
                      <a:pt x="186" y="30"/>
                      <a:pt x="202" y="51"/>
                    </a:cubicBezTo>
                    <a:cubicBezTo>
                      <a:pt x="218" y="71"/>
                      <a:pt x="234" y="102"/>
                      <a:pt x="247" y="141"/>
                    </a:cubicBezTo>
                    <a:cubicBezTo>
                      <a:pt x="272" y="218"/>
                      <a:pt x="288" y="326"/>
                      <a:pt x="288" y="445"/>
                    </a:cubicBezTo>
                    <a:cubicBezTo>
                      <a:pt x="288" y="563"/>
                      <a:pt x="272" y="671"/>
                      <a:pt x="247" y="748"/>
                    </a:cubicBezTo>
                    <a:cubicBezTo>
                      <a:pt x="234" y="787"/>
                      <a:pt x="218" y="818"/>
                      <a:pt x="202" y="838"/>
                    </a:cubicBezTo>
                    <a:cubicBezTo>
                      <a:pt x="186" y="859"/>
                      <a:pt x="170" y="869"/>
                      <a:pt x="154" y="869"/>
                    </a:cubicBezTo>
                    <a:cubicBezTo>
                      <a:pt x="138" y="869"/>
                      <a:pt x="122" y="859"/>
                      <a:pt x="106" y="838"/>
                    </a:cubicBezTo>
                    <a:cubicBezTo>
                      <a:pt x="90" y="818"/>
                      <a:pt x="75" y="787"/>
                      <a:pt x="62" y="748"/>
                    </a:cubicBezTo>
                    <a:cubicBezTo>
                      <a:pt x="36" y="671"/>
                      <a:pt x="20" y="563"/>
                      <a:pt x="20" y="445"/>
                    </a:cubicBezTo>
                    <a:cubicBezTo>
                      <a:pt x="20" y="326"/>
                      <a:pt x="36" y="218"/>
                      <a:pt x="62" y="141"/>
                    </a:cubicBezTo>
                    <a:cubicBezTo>
                      <a:pt x="75" y="102"/>
                      <a:pt x="90" y="71"/>
                      <a:pt x="106" y="51"/>
                    </a:cubicBezTo>
                    <a:cubicBezTo>
                      <a:pt x="122" y="30"/>
                      <a:pt x="138" y="20"/>
                      <a:pt x="154" y="20"/>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Atomic">
                <a:extLst>
                  <a:ext uri="{FF2B5EF4-FFF2-40B4-BE49-F238E27FC236}">
                    <a16:creationId xmlns:a16="http://schemas.microsoft.com/office/drawing/2014/main" id="{5B9AD3FD-094E-4907-B954-DD8DB1FF1790}"/>
                  </a:ext>
                </a:extLst>
              </p:cNvPr>
              <p:cNvSpPr>
                <a:spLocks noEditPoints="1"/>
              </p:cNvSpPr>
              <p:nvPr>
                <p:custDataLst>
                  <p:tags r:id="rId3"/>
                </p:custDataLst>
              </p:nvPr>
            </p:nvSpPr>
            <p:spPr bwMode="auto">
              <a:xfrm>
                <a:off x="88" y="93"/>
                <a:ext cx="317" cy="303"/>
              </a:xfrm>
              <a:custGeom>
                <a:avLst/>
                <a:gdLst>
                  <a:gd name="T0" fmla="*/ 667 w 688"/>
                  <a:gd name="T1" fmla="*/ 23 h 655"/>
                  <a:gd name="T2" fmla="*/ 596 w 688"/>
                  <a:gd name="T3" fmla="*/ 3 h 655"/>
                  <a:gd name="T4" fmla="*/ 494 w 688"/>
                  <a:gd name="T5" fmla="*/ 34 h 655"/>
                  <a:gd name="T6" fmla="*/ 239 w 688"/>
                  <a:gd name="T7" fmla="*/ 216 h 655"/>
                  <a:gd name="T8" fmla="*/ 42 w 688"/>
                  <a:gd name="T9" fmla="*/ 459 h 655"/>
                  <a:gd name="T10" fmla="*/ 5 w 688"/>
                  <a:gd name="T11" fmla="*/ 560 h 655"/>
                  <a:gd name="T12" fmla="*/ 21 w 688"/>
                  <a:gd name="T13" fmla="*/ 632 h 655"/>
                  <a:gd name="T14" fmla="*/ 93 w 688"/>
                  <a:gd name="T15" fmla="*/ 653 h 655"/>
                  <a:gd name="T16" fmla="*/ 195 w 688"/>
                  <a:gd name="T17" fmla="*/ 621 h 655"/>
                  <a:gd name="T18" fmla="*/ 450 w 688"/>
                  <a:gd name="T19" fmla="*/ 440 h 655"/>
                  <a:gd name="T20" fmla="*/ 646 w 688"/>
                  <a:gd name="T21" fmla="*/ 196 h 655"/>
                  <a:gd name="T22" fmla="*/ 684 w 688"/>
                  <a:gd name="T23" fmla="*/ 96 h 655"/>
                  <a:gd name="T24" fmla="*/ 667 w 688"/>
                  <a:gd name="T25" fmla="*/ 23 h 655"/>
                  <a:gd name="T26" fmla="*/ 653 w 688"/>
                  <a:gd name="T27" fmla="*/ 37 h 655"/>
                  <a:gd name="T28" fmla="*/ 664 w 688"/>
                  <a:gd name="T29" fmla="*/ 92 h 655"/>
                  <a:gd name="T30" fmla="*/ 629 w 688"/>
                  <a:gd name="T31" fmla="*/ 186 h 655"/>
                  <a:gd name="T32" fmla="*/ 436 w 688"/>
                  <a:gd name="T33" fmla="*/ 425 h 655"/>
                  <a:gd name="T34" fmla="*/ 187 w 688"/>
                  <a:gd name="T35" fmla="*/ 603 h 655"/>
                  <a:gd name="T36" fmla="*/ 91 w 688"/>
                  <a:gd name="T37" fmla="*/ 633 h 655"/>
                  <a:gd name="T38" fmla="*/ 36 w 688"/>
                  <a:gd name="T39" fmla="*/ 618 h 655"/>
                  <a:gd name="T40" fmla="*/ 25 w 688"/>
                  <a:gd name="T41" fmla="*/ 562 h 655"/>
                  <a:gd name="T42" fmla="*/ 60 w 688"/>
                  <a:gd name="T43" fmla="*/ 469 h 655"/>
                  <a:gd name="T44" fmla="*/ 253 w 688"/>
                  <a:gd name="T45" fmla="*/ 230 h 655"/>
                  <a:gd name="T46" fmla="*/ 502 w 688"/>
                  <a:gd name="T47" fmla="*/ 52 h 655"/>
                  <a:gd name="T48" fmla="*/ 598 w 688"/>
                  <a:gd name="T49" fmla="*/ 22 h 655"/>
                  <a:gd name="T50" fmla="*/ 653 w 688"/>
                  <a:gd name="T51" fmla="*/ 37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8" h="655">
                    <a:moveTo>
                      <a:pt x="667" y="23"/>
                    </a:moveTo>
                    <a:cubicBezTo>
                      <a:pt x="651" y="6"/>
                      <a:pt x="626" y="0"/>
                      <a:pt x="596" y="3"/>
                    </a:cubicBezTo>
                    <a:cubicBezTo>
                      <a:pt x="566" y="5"/>
                      <a:pt x="532" y="16"/>
                      <a:pt x="494" y="34"/>
                    </a:cubicBezTo>
                    <a:cubicBezTo>
                      <a:pt x="417" y="69"/>
                      <a:pt x="327" y="133"/>
                      <a:pt x="239" y="216"/>
                    </a:cubicBezTo>
                    <a:cubicBezTo>
                      <a:pt x="151" y="298"/>
                      <a:pt x="82" y="385"/>
                      <a:pt x="42" y="459"/>
                    </a:cubicBezTo>
                    <a:cubicBezTo>
                      <a:pt x="22" y="496"/>
                      <a:pt x="9" y="530"/>
                      <a:pt x="5" y="560"/>
                    </a:cubicBezTo>
                    <a:cubicBezTo>
                      <a:pt x="0" y="589"/>
                      <a:pt x="5" y="615"/>
                      <a:pt x="21" y="632"/>
                    </a:cubicBezTo>
                    <a:cubicBezTo>
                      <a:pt x="38" y="649"/>
                      <a:pt x="63" y="655"/>
                      <a:pt x="93" y="653"/>
                    </a:cubicBezTo>
                    <a:cubicBezTo>
                      <a:pt x="122" y="650"/>
                      <a:pt x="157" y="639"/>
                      <a:pt x="195" y="621"/>
                    </a:cubicBezTo>
                    <a:cubicBezTo>
                      <a:pt x="271" y="586"/>
                      <a:pt x="362" y="522"/>
                      <a:pt x="450" y="440"/>
                    </a:cubicBezTo>
                    <a:cubicBezTo>
                      <a:pt x="538" y="357"/>
                      <a:pt x="606" y="270"/>
                      <a:pt x="646" y="196"/>
                    </a:cubicBezTo>
                    <a:cubicBezTo>
                      <a:pt x="666" y="159"/>
                      <a:pt x="679" y="125"/>
                      <a:pt x="684" y="96"/>
                    </a:cubicBezTo>
                    <a:cubicBezTo>
                      <a:pt x="688" y="66"/>
                      <a:pt x="684" y="40"/>
                      <a:pt x="667" y="23"/>
                    </a:cubicBezTo>
                    <a:close/>
                    <a:moveTo>
                      <a:pt x="653" y="37"/>
                    </a:moveTo>
                    <a:cubicBezTo>
                      <a:pt x="664" y="48"/>
                      <a:pt x="668" y="67"/>
                      <a:pt x="664" y="92"/>
                    </a:cubicBezTo>
                    <a:cubicBezTo>
                      <a:pt x="660" y="118"/>
                      <a:pt x="648" y="151"/>
                      <a:pt x="629" y="186"/>
                    </a:cubicBezTo>
                    <a:cubicBezTo>
                      <a:pt x="590" y="258"/>
                      <a:pt x="523" y="343"/>
                      <a:pt x="436" y="425"/>
                    </a:cubicBezTo>
                    <a:cubicBezTo>
                      <a:pt x="350" y="507"/>
                      <a:pt x="260" y="569"/>
                      <a:pt x="187" y="603"/>
                    </a:cubicBezTo>
                    <a:cubicBezTo>
                      <a:pt x="150" y="620"/>
                      <a:pt x="117" y="630"/>
                      <a:pt x="91" y="633"/>
                    </a:cubicBezTo>
                    <a:cubicBezTo>
                      <a:pt x="65" y="635"/>
                      <a:pt x="46" y="630"/>
                      <a:pt x="36" y="618"/>
                    </a:cubicBezTo>
                    <a:cubicBezTo>
                      <a:pt x="25" y="607"/>
                      <a:pt x="21" y="588"/>
                      <a:pt x="25" y="562"/>
                    </a:cubicBezTo>
                    <a:cubicBezTo>
                      <a:pt x="29" y="537"/>
                      <a:pt x="41" y="504"/>
                      <a:pt x="60" y="469"/>
                    </a:cubicBezTo>
                    <a:cubicBezTo>
                      <a:pt x="99" y="397"/>
                      <a:pt x="166" y="312"/>
                      <a:pt x="253" y="230"/>
                    </a:cubicBezTo>
                    <a:cubicBezTo>
                      <a:pt x="339" y="149"/>
                      <a:pt x="428" y="86"/>
                      <a:pt x="502" y="52"/>
                    </a:cubicBezTo>
                    <a:cubicBezTo>
                      <a:pt x="539" y="35"/>
                      <a:pt x="572" y="25"/>
                      <a:pt x="598" y="22"/>
                    </a:cubicBezTo>
                    <a:cubicBezTo>
                      <a:pt x="624" y="20"/>
                      <a:pt x="642" y="25"/>
                      <a:pt x="653" y="37"/>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Atomic">
                <a:extLst>
                  <a:ext uri="{FF2B5EF4-FFF2-40B4-BE49-F238E27FC236}">
                    <a16:creationId xmlns:a16="http://schemas.microsoft.com/office/drawing/2014/main" id="{AB379A85-F99F-40CE-B2DC-6C6C79352F9A}"/>
                  </a:ext>
                </a:extLst>
              </p:cNvPr>
              <p:cNvSpPr>
                <a:spLocks noEditPoints="1"/>
              </p:cNvSpPr>
              <p:nvPr>
                <p:custDataLst>
                  <p:tags r:id="rId4"/>
                </p:custDataLst>
              </p:nvPr>
            </p:nvSpPr>
            <p:spPr bwMode="auto">
              <a:xfrm>
                <a:off x="62" y="125"/>
                <a:ext cx="369" cy="239"/>
              </a:xfrm>
              <a:custGeom>
                <a:avLst/>
                <a:gdLst>
                  <a:gd name="T0" fmla="*/ 787 w 799"/>
                  <a:gd name="T1" fmla="*/ 475 h 517"/>
                  <a:gd name="T2" fmla="*/ 785 w 799"/>
                  <a:gd name="T3" fmla="*/ 401 h 517"/>
                  <a:gd name="T4" fmla="*/ 724 w 799"/>
                  <a:gd name="T5" fmla="*/ 312 h 517"/>
                  <a:gd name="T6" fmla="*/ 474 w 799"/>
                  <a:gd name="T7" fmla="*/ 124 h 517"/>
                  <a:gd name="T8" fmla="*/ 183 w 799"/>
                  <a:gd name="T9" fmla="*/ 10 h 517"/>
                  <a:gd name="T10" fmla="*/ 76 w 799"/>
                  <a:gd name="T11" fmla="*/ 5 h 517"/>
                  <a:gd name="T12" fmla="*/ 12 w 799"/>
                  <a:gd name="T13" fmla="*/ 42 h 517"/>
                  <a:gd name="T14" fmla="*/ 13 w 799"/>
                  <a:gd name="T15" fmla="*/ 117 h 517"/>
                  <a:gd name="T16" fmla="*/ 74 w 799"/>
                  <a:gd name="T17" fmla="*/ 205 h 517"/>
                  <a:gd name="T18" fmla="*/ 324 w 799"/>
                  <a:gd name="T19" fmla="*/ 393 h 517"/>
                  <a:gd name="T20" fmla="*/ 616 w 799"/>
                  <a:gd name="T21" fmla="*/ 507 h 517"/>
                  <a:gd name="T22" fmla="*/ 723 w 799"/>
                  <a:gd name="T23" fmla="*/ 512 h 517"/>
                  <a:gd name="T24" fmla="*/ 787 w 799"/>
                  <a:gd name="T25" fmla="*/ 475 h 517"/>
                  <a:gd name="T26" fmla="*/ 770 w 799"/>
                  <a:gd name="T27" fmla="*/ 465 h 517"/>
                  <a:gd name="T28" fmla="*/ 720 w 799"/>
                  <a:gd name="T29" fmla="*/ 492 h 517"/>
                  <a:gd name="T30" fmla="*/ 620 w 799"/>
                  <a:gd name="T31" fmla="*/ 487 h 517"/>
                  <a:gd name="T32" fmla="*/ 334 w 799"/>
                  <a:gd name="T33" fmla="*/ 376 h 517"/>
                  <a:gd name="T34" fmla="*/ 89 w 799"/>
                  <a:gd name="T35" fmla="*/ 191 h 517"/>
                  <a:gd name="T36" fmla="*/ 32 w 799"/>
                  <a:gd name="T37" fmla="*/ 109 h 517"/>
                  <a:gd name="T38" fmla="*/ 29 w 799"/>
                  <a:gd name="T39" fmla="*/ 52 h 517"/>
                  <a:gd name="T40" fmla="*/ 79 w 799"/>
                  <a:gd name="T41" fmla="*/ 25 h 517"/>
                  <a:gd name="T42" fmla="*/ 179 w 799"/>
                  <a:gd name="T43" fmla="*/ 30 h 517"/>
                  <a:gd name="T44" fmla="*/ 465 w 799"/>
                  <a:gd name="T45" fmla="*/ 142 h 517"/>
                  <a:gd name="T46" fmla="*/ 710 w 799"/>
                  <a:gd name="T47" fmla="*/ 326 h 517"/>
                  <a:gd name="T48" fmla="*/ 767 w 799"/>
                  <a:gd name="T49" fmla="*/ 408 h 517"/>
                  <a:gd name="T50" fmla="*/ 770 w 799"/>
                  <a:gd name="T51" fmla="*/ 465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9" h="517">
                    <a:moveTo>
                      <a:pt x="787" y="475"/>
                    </a:moveTo>
                    <a:cubicBezTo>
                      <a:pt x="799" y="454"/>
                      <a:pt x="796" y="428"/>
                      <a:pt x="785" y="401"/>
                    </a:cubicBezTo>
                    <a:cubicBezTo>
                      <a:pt x="774" y="373"/>
                      <a:pt x="753" y="343"/>
                      <a:pt x="724" y="312"/>
                    </a:cubicBezTo>
                    <a:cubicBezTo>
                      <a:pt x="667" y="250"/>
                      <a:pt x="580" y="183"/>
                      <a:pt x="474" y="124"/>
                    </a:cubicBezTo>
                    <a:cubicBezTo>
                      <a:pt x="369" y="65"/>
                      <a:pt x="265" y="26"/>
                      <a:pt x="183" y="10"/>
                    </a:cubicBezTo>
                    <a:cubicBezTo>
                      <a:pt x="141" y="2"/>
                      <a:pt x="105" y="0"/>
                      <a:pt x="76" y="5"/>
                    </a:cubicBezTo>
                    <a:cubicBezTo>
                      <a:pt x="46" y="10"/>
                      <a:pt x="23" y="21"/>
                      <a:pt x="12" y="42"/>
                    </a:cubicBezTo>
                    <a:cubicBezTo>
                      <a:pt x="0" y="63"/>
                      <a:pt x="2" y="89"/>
                      <a:pt x="13" y="117"/>
                    </a:cubicBezTo>
                    <a:cubicBezTo>
                      <a:pt x="25" y="144"/>
                      <a:pt x="46" y="174"/>
                      <a:pt x="74" y="205"/>
                    </a:cubicBezTo>
                    <a:cubicBezTo>
                      <a:pt x="131" y="267"/>
                      <a:pt x="219" y="334"/>
                      <a:pt x="324" y="393"/>
                    </a:cubicBezTo>
                    <a:cubicBezTo>
                      <a:pt x="430" y="452"/>
                      <a:pt x="533" y="491"/>
                      <a:pt x="616" y="507"/>
                    </a:cubicBezTo>
                    <a:cubicBezTo>
                      <a:pt x="657" y="515"/>
                      <a:pt x="693" y="517"/>
                      <a:pt x="723" y="512"/>
                    </a:cubicBezTo>
                    <a:cubicBezTo>
                      <a:pt x="752" y="508"/>
                      <a:pt x="776" y="496"/>
                      <a:pt x="787" y="475"/>
                    </a:cubicBezTo>
                    <a:close/>
                    <a:moveTo>
                      <a:pt x="770" y="465"/>
                    </a:moveTo>
                    <a:cubicBezTo>
                      <a:pt x="762" y="479"/>
                      <a:pt x="746" y="488"/>
                      <a:pt x="720" y="492"/>
                    </a:cubicBezTo>
                    <a:cubicBezTo>
                      <a:pt x="694" y="496"/>
                      <a:pt x="660" y="495"/>
                      <a:pt x="620" y="487"/>
                    </a:cubicBezTo>
                    <a:cubicBezTo>
                      <a:pt x="540" y="472"/>
                      <a:pt x="438" y="434"/>
                      <a:pt x="334" y="376"/>
                    </a:cubicBezTo>
                    <a:cubicBezTo>
                      <a:pt x="230" y="318"/>
                      <a:pt x="144" y="251"/>
                      <a:pt x="89" y="191"/>
                    </a:cubicBezTo>
                    <a:cubicBezTo>
                      <a:pt x="62" y="162"/>
                      <a:pt x="42" y="133"/>
                      <a:pt x="32" y="109"/>
                    </a:cubicBezTo>
                    <a:cubicBezTo>
                      <a:pt x="22" y="85"/>
                      <a:pt x="21" y="66"/>
                      <a:pt x="29" y="52"/>
                    </a:cubicBezTo>
                    <a:cubicBezTo>
                      <a:pt x="37" y="38"/>
                      <a:pt x="53" y="29"/>
                      <a:pt x="79" y="25"/>
                    </a:cubicBezTo>
                    <a:cubicBezTo>
                      <a:pt x="105" y="21"/>
                      <a:pt x="139" y="23"/>
                      <a:pt x="179" y="30"/>
                    </a:cubicBezTo>
                    <a:cubicBezTo>
                      <a:pt x="259" y="45"/>
                      <a:pt x="361" y="84"/>
                      <a:pt x="465" y="142"/>
                    </a:cubicBezTo>
                    <a:cubicBezTo>
                      <a:pt x="568" y="200"/>
                      <a:pt x="655" y="266"/>
                      <a:pt x="710" y="326"/>
                    </a:cubicBezTo>
                    <a:cubicBezTo>
                      <a:pt x="737" y="356"/>
                      <a:pt x="757" y="384"/>
                      <a:pt x="767" y="408"/>
                    </a:cubicBezTo>
                    <a:cubicBezTo>
                      <a:pt x="777" y="432"/>
                      <a:pt x="777" y="451"/>
                      <a:pt x="770" y="465"/>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Atomic">
                <a:extLst>
                  <a:ext uri="{FF2B5EF4-FFF2-40B4-BE49-F238E27FC236}">
                    <a16:creationId xmlns:a16="http://schemas.microsoft.com/office/drawing/2014/main" id="{C8940334-9FA1-4D52-9D8D-352A8D4E5578}"/>
                  </a:ext>
                </a:extLst>
              </p:cNvPr>
              <p:cNvSpPr>
                <a:spLocks noChangeArrowheads="1"/>
              </p:cNvSpPr>
              <p:nvPr>
                <p:custDataLst>
                  <p:tags r:id="rId5"/>
                </p:custDataLst>
              </p:nvPr>
            </p:nvSpPr>
            <p:spPr bwMode="auto">
              <a:xfrm>
                <a:off x="70" y="180"/>
                <a:ext cx="37" cy="38"/>
              </a:xfrm>
              <a:prstGeom prst="ellipse">
                <a:avLst/>
              </a:pr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Atomic">
                <a:extLst>
                  <a:ext uri="{FF2B5EF4-FFF2-40B4-BE49-F238E27FC236}">
                    <a16:creationId xmlns:a16="http://schemas.microsoft.com/office/drawing/2014/main" id="{ADFE4B79-B070-43F2-A013-772123CFF36E}"/>
                  </a:ext>
                </a:extLst>
              </p:cNvPr>
              <p:cNvSpPr>
                <a:spLocks noChangeArrowheads="1"/>
              </p:cNvSpPr>
              <p:nvPr>
                <p:custDataLst>
                  <p:tags r:id="rId6"/>
                </p:custDataLst>
              </p:nvPr>
            </p:nvSpPr>
            <p:spPr bwMode="auto">
              <a:xfrm>
                <a:off x="351" y="183"/>
                <a:ext cx="37" cy="37"/>
              </a:xfrm>
              <a:prstGeom prst="ellipse">
                <a:avLst/>
              </a:pr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Atomic">
                <a:extLst>
                  <a:ext uri="{FF2B5EF4-FFF2-40B4-BE49-F238E27FC236}">
                    <a16:creationId xmlns:a16="http://schemas.microsoft.com/office/drawing/2014/main" id="{47C83664-1D25-4835-B99D-D394E031A901}"/>
                  </a:ext>
                </a:extLst>
              </p:cNvPr>
              <p:cNvSpPr>
                <a:spLocks noChangeArrowheads="1"/>
              </p:cNvSpPr>
              <p:nvPr>
                <p:custDataLst>
                  <p:tags r:id="rId7"/>
                </p:custDataLst>
              </p:nvPr>
            </p:nvSpPr>
            <p:spPr bwMode="auto">
              <a:xfrm>
                <a:off x="278" y="362"/>
                <a:ext cx="38" cy="37"/>
              </a:xfrm>
              <a:prstGeom prst="ellipse">
                <a:avLst/>
              </a:pr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Atomic">
                <a:extLst>
                  <a:ext uri="{FF2B5EF4-FFF2-40B4-BE49-F238E27FC236}">
                    <a16:creationId xmlns:a16="http://schemas.microsoft.com/office/drawing/2014/main" id="{2D7C98AD-93F9-4008-A2E7-61C12B9E24A4}"/>
                  </a:ext>
                </a:extLst>
              </p:cNvPr>
              <p:cNvSpPr>
                <a:spLocks/>
              </p:cNvSpPr>
              <p:nvPr>
                <p:custDataLst>
                  <p:tags r:id="rId8"/>
                </p:custDataLst>
              </p:nvPr>
            </p:nvSpPr>
            <p:spPr bwMode="auto">
              <a:xfrm>
                <a:off x="209" y="212"/>
                <a:ext cx="42" cy="37"/>
              </a:xfrm>
              <a:custGeom>
                <a:avLst/>
                <a:gdLst>
                  <a:gd name="T0" fmla="*/ 48 w 91"/>
                  <a:gd name="T1" fmla="*/ 0 h 81"/>
                  <a:gd name="T2" fmla="*/ 0 w 91"/>
                  <a:gd name="T3" fmla="*/ 50 h 81"/>
                  <a:gd name="T4" fmla="*/ 11 w 91"/>
                  <a:gd name="T5" fmla="*/ 81 h 81"/>
                  <a:gd name="T6" fmla="*/ 59 w 91"/>
                  <a:gd name="T7" fmla="*/ 59 h 81"/>
                  <a:gd name="T8" fmla="*/ 60 w 91"/>
                  <a:gd name="T9" fmla="*/ 59 h 81"/>
                  <a:gd name="T10" fmla="*/ 91 w 91"/>
                  <a:gd name="T11" fmla="*/ 28 h 81"/>
                  <a:gd name="T12" fmla="*/ 48 w 91"/>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91" h="81">
                    <a:moveTo>
                      <a:pt x="48" y="0"/>
                    </a:moveTo>
                    <a:cubicBezTo>
                      <a:pt x="22" y="0"/>
                      <a:pt x="0" y="23"/>
                      <a:pt x="0" y="50"/>
                    </a:cubicBezTo>
                    <a:cubicBezTo>
                      <a:pt x="0" y="62"/>
                      <a:pt x="4" y="73"/>
                      <a:pt x="11" y="81"/>
                    </a:cubicBezTo>
                    <a:cubicBezTo>
                      <a:pt x="23" y="68"/>
                      <a:pt x="40" y="59"/>
                      <a:pt x="59" y="59"/>
                    </a:cubicBezTo>
                    <a:cubicBezTo>
                      <a:pt x="59" y="59"/>
                      <a:pt x="60" y="59"/>
                      <a:pt x="60" y="59"/>
                    </a:cubicBezTo>
                    <a:cubicBezTo>
                      <a:pt x="67" y="45"/>
                      <a:pt x="78" y="34"/>
                      <a:pt x="91" y="28"/>
                    </a:cubicBezTo>
                    <a:cubicBezTo>
                      <a:pt x="83" y="12"/>
                      <a:pt x="67" y="0"/>
                      <a:pt x="48" y="0"/>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Atomic">
                <a:extLst>
                  <a:ext uri="{FF2B5EF4-FFF2-40B4-BE49-F238E27FC236}">
                    <a16:creationId xmlns:a16="http://schemas.microsoft.com/office/drawing/2014/main" id="{410A5509-157B-4F70-9FE3-32AE10375D32}"/>
                  </a:ext>
                </a:extLst>
              </p:cNvPr>
              <p:cNvSpPr>
                <a:spLocks/>
              </p:cNvSpPr>
              <p:nvPr>
                <p:custDataLst>
                  <p:tags r:id="rId9"/>
                </p:custDataLst>
              </p:nvPr>
            </p:nvSpPr>
            <p:spPr bwMode="auto">
              <a:xfrm>
                <a:off x="212" y="244"/>
                <a:ext cx="40" cy="46"/>
              </a:xfrm>
              <a:custGeom>
                <a:avLst/>
                <a:gdLst>
                  <a:gd name="T0" fmla="*/ 49 w 87"/>
                  <a:gd name="T1" fmla="*/ 0 h 100"/>
                  <a:gd name="T2" fmla="*/ 0 w 87"/>
                  <a:gd name="T3" fmla="*/ 50 h 100"/>
                  <a:gd name="T4" fmla="*/ 49 w 87"/>
                  <a:gd name="T5" fmla="*/ 100 h 100"/>
                  <a:gd name="T6" fmla="*/ 87 w 87"/>
                  <a:gd name="T7" fmla="*/ 81 h 100"/>
                  <a:gd name="T8" fmla="*/ 51 w 87"/>
                  <a:gd name="T9" fmla="*/ 20 h 100"/>
                  <a:gd name="T10" fmla="*/ 54 w 87"/>
                  <a:gd name="T11" fmla="*/ 0 h 100"/>
                  <a:gd name="T12" fmla="*/ 49 w 87"/>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7" h="100">
                    <a:moveTo>
                      <a:pt x="49" y="0"/>
                    </a:moveTo>
                    <a:cubicBezTo>
                      <a:pt x="22" y="0"/>
                      <a:pt x="0" y="23"/>
                      <a:pt x="0" y="50"/>
                    </a:cubicBezTo>
                    <a:cubicBezTo>
                      <a:pt x="0" y="78"/>
                      <a:pt x="22" y="100"/>
                      <a:pt x="49" y="100"/>
                    </a:cubicBezTo>
                    <a:cubicBezTo>
                      <a:pt x="64" y="100"/>
                      <a:pt x="78" y="93"/>
                      <a:pt x="87" y="81"/>
                    </a:cubicBezTo>
                    <a:cubicBezTo>
                      <a:pt x="66" y="69"/>
                      <a:pt x="51" y="46"/>
                      <a:pt x="51" y="20"/>
                    </a:cubicBezTo>
                    <a:cubicBezTo>
                      <a:pt x="51" y="13"/>
                      <a:pt x="52" y="7"/>
                      <a:pt x="54" y="0"/>
                    </a:cubicBezTo>
                    <a:cubicBezTo>
                      <a:pt x="52" y="0"/>
                      <a:pt x="51" y="0"/>
                      <a:pt x="49" y="0"/>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Atomic">
                <a:extLst>
                  <a:ext uri="{FF2B5EF4-FFF2-40B4-BE49-F238E27FC236}">
                    <a16:creationId xmlns:a16="http://schemas.microsoft.com/office/drawing/2014/main" id="{B307AD9E-B259-4704-B0AB-D4E0EC866AA2}"/>
                  </a:ext>
                </a:extLst>
              </p:cNvPr>
              <p:cNvSpPr>
                <a:spLocks/>
              </p:cNvSpPr>
              <p:nvPr>
                <p:custDataLst>
                  <p:tags r:id="rId10"/>
                </p:custDataLst>
              </p:nvPr>
            </p:nvSpPr>
            <p:spPr bwMode="auto">
              <a:xfrm>
                <a:off x="239" y="216"/>
                <a:ext cx="52" cy="63"/>
              </a:xfrm>
              <a:custGeom>
                <a:avLst/>
                <a:gdLst>
                  <a:gd name="T0" fmla="*/ 112 w 112"/>
                  <a:gd name="T1" fmla="*/ 77 h 135"/>
                  <a:gd name="T2" fmla="*/ 56 w 112"/>
                  <a:gd name="T3" fmla="*/ 135 h 135"/>
                  <a:gd name="T4" fmla="*/ 0 w 112"/>
                  <a:gd name="T5" fmla="*/ 77 h 135"/>
                  <a:gd name="T6" fmla="*/ 112 w 112"/>
                  <a:gd name="T7" fmla="*/ 77 h 135"/>
                </a:gdLst>
                <a:ahLst/>
                <a:cxnLst>
                  <a:cxn ang="0">
                    <a:pos x="T0" y="T1"/>
                  </a:cxn>
                  <a:cxn ang="0">
                    <a:pos x="T2" y="T3"/>
                  </a:cxn>
                  <a:cxn ang="0">
                    <a:pos x="T4" y="T5"/>
                  </a:cxn>
                  <a:cxn ang="0">
                    <a:pos x="T6" y="T7"/>
                  </a:cxn>
                </a:cxnLst>
                <a:rect l="0" t="0" r="r" b="b"/>
                <a:pathLst>
                  <a:path w="112" h="135">
                    <a:moveTo>
                      <a:pt x="112" y="77"/>
                    </a:moveTo>
                    <a:cubicBezTo>
                      <a:pt x="112" y="109"/>
                      <a:pt x="87" y="135"/>
                      <a:pt x="56" y="135"/>
                    </a:cubicBezTo>
                    <a:cubicBezTo>
                      <a:pt x="25" y="135"/>
                      <a:pt x="0" y="109"/>
                      <a:pt x="0" y="77"/>
                    </a:cubicBezTo>
                    <a:cubicBezTo>
                      <a:pt x="0" y="0"/>
                      <a:pt x="112" y="0"/>
                      <a:pt x="112" y="77"/>
                    </a:cubicBezTo>
                    <a:close/>
                  </a:path>
                </a:pathLst>
              </a:custGeom>
              <a:grp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080966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8" accel="60000" fill="hold" nodeType="withEffect">
                                  <p:stCondLst>
                                    <p:cond delay="0"/>
                                  </p:stCondLst>
                                  <p:childTnLst>
                                    <p:anim calcmode="lin" valueType="num">
                                      <p:cBhvr additive="base">
                                        <p:cTn id="6" dur="500"/>
                                        <p:tgtEl>
                                          <p:spTgt spid="2"/>
                                        </p:tgtEl>
                                        <p:attrNameLst>
                                          <p:attrName>ppt_x</p:attrName>
                                        </p:attrNameLst>
                                      </p:cBhvr>
                                      <p:tavLst>
                                        <p:tav tm="0">
                                          <p:val>
                                            <p:strVal val="ppt_x"/>
                                          </p:val>
                                        </p:tav>
                                        <p:tav tm="100000">
                                          <p:val>
                                            <p:strVal val="0-ppt_w/2"/>
                                          </p:val>
                                        </p:tav>
                                      </p:tavLst>
                                    </p:anim>
                                    <p:anim calcmode="lin" valueType="num">
                                      <p:cBhvr additive="base">
                                        <p:cTn id="7" dur="500"/>
                                        <p:tgtEl>
                                          <p:spTgt spid="2"/>
                                        </p:tgtEl>
                                        <p:attrNameLst>
                                          <p:attrName>ppt_y</p:attrName>
                                        </p:attrNameLst>
                                      </p:cBhvr>
                                      <p:tavLst>
                                        <p:tav tm="0">
                                          <p:val>
                                            <p:strVal val="ppt_y"/>
                                          </p:val>
                                        </p:tav>
                                        <p:tav tm="100000">
                                          <p:val>
                                            <p:strVal val="ppt_y"/>
                                          </p:val>
                                        </p:tav>
                                      </p:tavLst>
                                    </p:anim>
                                    <p:set>
                                      <p:cBhvr>
                                        <p:cTn id="8"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Straight Connector 21">
            <a:extLst>
              <a:ext uri="{FF2B5EF4-FFF2-40B4-BE49-F238E27FC236}">
                <a16:creationId xmlns:a16="http://schemas.microsoft.com/office/drawing/2014/main" id="{D56C73D5-D2A2-4C40-90CC-E775D4AB9395}"/>
              </a:ext>
            </a:extLst>
          </p:cNvPr>
          <p:cNvCxnSpPr>
            <a:cxnSpLocks/>
          </p:cNvCxnSpPr>
          <p:nvPr/>
        </p:nvCxnSpPr>
        <p:spPr>
          <a:xfrm>
            <a:off x="1644010" y="3379572"/>
            <a:ext cx="8593889" cy="0"/>
          </a:xfrm>
          <a:prstGeom prst="line">
            <a:avLst/>
          </a:prstGeom>
          <a:ln w="28575">
            <a:solidFill>
              <a:schemeClr val="bg1"/>
            </a:solidFill>
            <a:prstDash val="lg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91311DC-6B9B-4F7A-B878-9A87B318E9BD}"/>
              </a:ext>
            </a:extLst>
          </p:cNvPr>
          <p:cNvCxnSpPr>
            <a:cxnSpLocks/>
          </p:cNvCxnSpPr>
          <p:nvPr/>
        </p:nvCxnSpPr>
        <p:spPr>
          <a:xfrm flipH="1">
            <a:off x="6096000" y="702644"/>
            <a:ext cx="47368" cy="5675007"/>
          </a:xfrm>
          <a:prstGeom prst="line">
            <a:avLst/>
          </a:prstGeom>
          <a:ln w="28575">
            <a:solidFill>
              <a:schemeClr val="bg1"/>
            </a:solidFill>
            <a:prstDash val="lgDash"/>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251022BB-87BB-432A-A57F-1034128E2807}"/>
              </a:ext>
            </a:extLst>
          </p:cNvPr>
          <p:cNvGrpSpPr/>
          <p:nvPr/>
        </p:nvGrpSpPr>
        <p:grpSpPr>
          <a:xfrm>
            <a:off x="2134540" y="381494"/>
            <a:ext cx="3470930" cy="2998078"/>
            <a:chOff x="2134540" y="381494"/>
            <a:chExt cx="3470930" cy="2998078"/>
          </a:xfrm>
        </p:grpSpPr>
        <p:pic>
          <p:nvPicPr>
            <p:cNvPr id="9" name="Graphic 8">
              <a:extLst>
                <a:ext uri="{FF2B5EF4-FFF2-40B4-BE49-F238E27FC236}">
                  <a16:creationId xmlns:a16="http://schemas.microsoft.com/office/drawing/2014/main" id="{5325844A-C679-46A5-8251-65C2373AFF06}"/>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 r="2418" b="19082"/>
            <a:stretch/>
          </p:blipFill>
          <p:spPr>
            <a:xfrm>
              <a:off x="2718327" y="381494"/>
              <a:ext cx="2266250" cy="2359460"/>
            </a:xfrm>
            <a:prstGeom prst="rect">
              <a:avLst/>
            </a:prstGeom>
          </p:spPr>
        </p:pic>
        <p:sp>
          <p:nvSpPr>
            <p:cNvPr id="28" name="TextBox 27">
              <a:extLst>
                <a:ext uri="{FF2B5EF4-FFF2-40B4-BE49-F238E27FC236}">
                  <a16:creationId xmlns:a16="http://schemas.microsoft.com/office/drawing/2014/main" id="{994A6050-030B-47AD-8198-1D7BA642FD04}"/>
                </a:ext>
              </a:extLst>
            </p:cNvPr>
            <p:cNvSpPr txBox="1"/>
            <p:nvPr/>
          </p:nvSpPr>
          <p:spPr>
            <a:xfrm>
              <a:off x="2134540" y="2456242"/>
              <a:ext cx="3470930" cy="923330"/>
            </a:xfrm>
            <a:prstGeom prst="rect">
              <a:avLst/>
            </a:prstGeom>
            <a:noFill/>
          </p:spPr>
          <p:txBody>
            <a:bodyPr wrap="square" rtlCol="0">
              <a:spAutoFit/>
            </a:bodyPr>
            <a:lstStyle/>
            <a:p>
              <a:pPr algn="ctr"/>
              <a:r>
                <a:rPr lang="en-US" sz="5400" dirty="0">
                  <a:solidFill>
                    <a:schemeClr val="bg1"/>
                  </a:solidFill>
                  <a:latin typeface="Bebas Neue" panose="020B0606020202050201" pitchFamily="34" charset="0"/>
                </a:rPr>
                <a:t>storyboard</a:t>
              </a:r>
              <a:endParaRPr lang="en-SG" sz="5400" dirty="0">
                <a:solidFill>
                  <a:schemeClr val="bg1"/>
                </a:solidFill>
                <a:latin typeface="Bebas Neue" panose="020B0606020202050201" pitchFamily="34" charset="0"/>
              </a:endParaRPr>
            </a:p>
          </p:txBody>
        </p:sp>
      </p:grpSp>
      <p:grpSp>
        <p:nvGrpSpPr>
          <p:cNvPr id="40" name="Group 39">
            <a:extLst>
              <a:ext uri="{FF2B5EF4-FFF2-40B4-BE49-F238E27FC236}">
                <a16:creationId xmlns:a16="http://schemas.microsoft.com/office/drawing/2014/main" id="{EDF1299D-AD91-4FA3-823A-36383F51119C}"/>
              </a:ext>
            </a:extLst>
          </p:cNvPr>
          <p:cNvGrpSpPr/>
          <p:nvPr/>
        </p:nvGrpSpPr>
        <p:grpSpPr>
          <a:xfrm>
            <a:off x="6455168" y="670534"/>
            <a:ext cx="3470930" cy="2709038"/>
            <a:chOff x="6455168" y="670534"/>
            <a:chExt cx="3470930" cy="2709038"/>
          </a:xfrm>
        </p:grpSpPr>
        <p:pic>
          <p:nvPicPr>
            <p:cNvPr id="31" name="Graphic 30">
              <a:extLst>
                <a:ext uri="{FF2B5EF4-FFF2-40B4-BE49-F238E27FC236}">
                  <a16:creationId xmlns:a16="http://schemas.microsoft.com/office/drawing/2014/main" id="{CFF1815F-F656-42F6-9782-DB8A5A5A6BE8}"/>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19708"/>
            <a:stretch/>
          </p:blipFill>
          <p:spPr>
            <a:xfrm>
              <a:off x="7604717" y="670534"/>
              <a:ext cx="1171832" cy="1176109"/>
            </a:xfrm>
            <a:prstGeom prst="rect">
              <a:avLst/>
            </a:prstGeom>
          </p:spPr>
        </p:pic>
        <p:sp>
          <p:nvSpPr>
            <p:cNvPr id="32" name="TextBox 31">
              <a:extLst>
                <a:ext uri="{FF2B5EF4-FFF2-40B4-BE49-F238E27FC236}">
                  <a16:creationId xmlns:a16="http://schemas.microsoft.com/office/drawing/2014/main" id="{80497C0B-ABEA-4FC2-9D65-AA0A02737860}"/>
                </a:ext>
              </a:extLst>
            </p:cNvPr>
            <p:cNvSpPr txBox="1"/>
            <p:nvPr/>
          </p:nvSpPr>
          <p:spPr>
            <a:xfrm>
              <a:off x="6455168" y="1916094"/>
              <a:ext cx="3470930" cy="1463478"/>
            </a:xfrm>
            <a:prstGeom prst="rect">
              <a:avLst/>
            </a:prstGeom>
            <a:noFill/>
          </p:spPr>
          <p:txBody>
            <a:bodyPr wrap="square" rtlCol="0">
              <a:spAutoFit/>
            </a:bodyPr>
            <a:lstStyle/>
            <a:p>
              <a:pPr algn="ctr">
                <a:lnSpc>
                  <a:spcPct val="80000"/>
                </a:lnSpc>
              </a:pPr>
              <a:r>
                <a:rPr lang="en-US" sz="5400" dirty="0">
                  <a:solidFill>
                    <a:schemeClr val="bg1"/>
                  </a:solidFill>
                  <a:latin typeface="Bebas Neue" panose="020B0606020202050201" pitchFamily="34" charset="0"/>
                </a:rPr>
                <a:t>Software</a:t>
              </a:r>
            </a:p>
            <a:p>
              <a:pPr algn="ctr">
                <a:lnSpc>
                  <a:spcPct val="80000"/>
                </a:lnSpc>
              </a:pPr>
              <a:r>
                <a:rPr lang="en-US" sz="5400" dirty="0">
                  <a:solidFill>
                    <a:schemeClr val="bg1"/>
                  </a:solidFill>
                  <a:latin typeface="Bebas Neue" panose="020B0606020202050201" pitchFamily="34" charset="0"/>
                </a:rPr>
                <a:t>framework</a:t>
              </a:r>
              <a:endParaRPr lang="en-SG" sz="5400" dirty="0">
                <a:solidFill>
                  <a:schemeClr val="bg1"/>
                </a:solidFill>
                <a:latin typeface="Bebas Neue" panose="020B0606020202050201" pitchFamily="34" charset="0"/>
              </a:endParaRPr>
            </a:p>
          </p:txBody>
        </p:sp>
      </p:grpSp>
      <p:grpSp>
        <p:nvGrpSpPr>
          <p:cNvPr id="41" name="Group 40">
            <a:extLst>
              <a:ext uri="{FF2B5EF4-FFF2-40B4-BE49-F238E27FC236}">
                <a16:creationId xmlns:a16="http://schemas.microsoft.com/office/drawing/2014/main" id="{85F738BA-A0CA-4AE6-BFCB-8EABCAC10BDC}"/>
              </a:ext>
            </a:extLst>
          </p:cNvPr>
          <p:cNvGrpSpPr/>
          <p:nvPr/>
        </p:nvGrpSpPr>
        <p:grpSpPr>
          <a:xfrm>
            <a:off x="6874042" y="3664739"/>
            <a:ext cx="2633181" cy="2712912"/>
            <a:chOff x="6874042" y="3664739"/>
            <a:chExt cx="2633181" cy="2712912"/>
          </a:xfrm>
        </p:grpSpPr>
        <p:pic>
          <p:nvPicPr>
            <p:cNvPr id="37" name="Graphic 36">
              <a:extLst>
                <a:ext uri="{FF2B5EF4-FFF2-40B4-BE49-F238E27FC236}">
                  <a16:creationId xmlns:a16="http://schemas.microsoft.com/office/drawing/2014/main" id="{1C6F876C-4834-4F32-8383-1124E0073577}"/>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0531"/>
            <a:stretch/>
          </p:blipFill>
          <p:spPr>
            <a:xfrm>
              <a:off x="7616528" y="3664739"/>
              <a:ext cx="1148207" cy="1284110"/>
            </a:xfrm>
            <a:prstGeom prst="rect">
              <a:avLst/>
            </a:prstGeom>
          </p:spPr>
        </p:pic>
        <p:sp>
          <p:nvSpPr>
            <p:cNvPr id="38" name="TextBox 37">
              <a:extLst>
                <a:ext uri="{FF2B5EF4-FFF2-40B4-BE49-F238E27FC236}">
                  <a16:creationId xmlns:a16="http://schemas.microsoft.com/office/drawing/2014/main" id="{934AA871-8710-4DC0-92A5-DA9492E2778E}"/>
                </a:ext>
              </a:extLst>
            </p:cNvPr>
            <p:cNvSpPr txBox="1"/>
            <p:nvPr/>
          </p:nvSpPr>
          <p:spPr>
            <a:xfrm>
              <a:off x="6874042" y="4914173"/>
              <a:ext cx="2633181" cy="1463478"/>
            </a:xfrm>
            <a:prstGeom prst="rect">
              <a:avLst/>
            </a:prstGeom>
            <a:noFill/>
          </p:spPr>
          <p:txBody>
            <a:bodyPr wrap="square" rtlCol="0">
              <a:spAutoFit/>
            </a:bodyPr>
            <a:lstStyle/>
            <a:p>
              <a:pPr algn="ctr">
                <a:lnSpc>
                  <a:spcPct val="80000"/>
                </a:lnSpc>
              </a:pPr>
              <a:r>
                <a:rPr lang="en-US" sz="5400" dirty="0">
                  <a:solidFill>
                    <a:schemeClr val="bg1"/>
                  </a:solidFill>
                  <a:latin typeface="Bebas Neue" panose="020B0606020202050201" pitchFamily="34" charset="0"/>
                </a:rPr>
                <a:t>Machine &amp; </a:t>
              </a:r>
            </a:p>
            <a:p>
              <a:pPr algn="ctr">
                <a:lnSpc>
                  <a:spcPct val="80000"/>
                </a:lnSpc>
              </a:pPr>
              <a:r>
                <a:rPr lang="en-US" sz="5400" dirty="0" err="1">
                  <a:solidFill>
                    <a:schemeClr val="bg1"/>
                  </a:solidFill>
                  <a:latin typeface="Bebas Neue" panose="020B0606020202050201" pitchFamily="34" charset="0"/>
                </a:rPr>
                <a:t>ui</a:t>
              </a:r>
              <a:r>
                <a:rPr lang="en-US" sz="5400" dirty="0">
                  <a:solidFill>
                    <a:schemeClr val="bg1"/>
                  </a:solidFill>
                  <a:latin typeface="Bebas Neue" panose="020B0606020202050201" pitchFamily="34" charset="0"/>
                </a:rPr>
                <a:t> design</a:t>
              </a:r>
              <a:endParaRPr lang="en-SG" sz="5400" dirty="0">
                <a:solidFill>
                  <a:schemeClr val="bg1"/>
                </a:solidFill>
                <a:latin typeface="Bebas Neue" panose="020B0606020202050201" pitchFamily="34" charset="0"/>
              </a:endParaRPr>
            </a:p>
          </p:txBody>
        </p:sp>
      </p:grpSp>
      <p:grpSp>
        <p:nvGrpSpPr>
          <p:cNvPr id="42" name="Group 41">
            <a:extLst>
              <a:ext uri="{FF2B5EF4-FFF2-40B4-BE49-F238E27FC236}">
                <a16:creationId xmlns:a16="http://schemas.microsoft.com/office/drawing/2014/main" id="{4757A84A-A074-449A-9944-2CD5862BD925}"/>
              </a:ext>
            </a:extLst>
          </p:cNvPr>
          <p:cNvGrpSpPr/>
          <p:nvPr/>
        </p:nvGrpSpPr>
        <p:grpSpPr>
          <a:xfrm>
            <a:off x="1792986" y="3722614"/>
            <a:ext cx="4116932" cy="2622986"/>
            <a:chOff x="1792986" y="3722614"/>
            <a:chExt cx="4116932" cy="2622986"/>
          </a:xfrm>
        </p:grpSpPr>
        <p:pic>
          <p:nvPicPr>
            <p:cNvPr id="34" name="Graphic 33">
              <a:extLst>
                <a:ext uri="{FF2B5EF4-FFF2-40B4-BE49-F238E27FC236}">
                  <a16:creationId xmlns:a16="http://schemas.microsoft.com/office/drawing/2014/main" id="{6FFE0D1C-015C-49E0-AADE-6BC473C4FA49}"/>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4508"/>
            <a:stretch/>
          </p:blipFill>
          <p:spPr>
            <a:xfrm>
              <a:off x="3041220" y="3722614"/>
              <a:ext cx="1620464" cy="1731706"/>
            </a:xfrm>
            <a:prstGeom prst="rect">
              <a:avLst/>
            </a:prstGeom>
          </p:spPr>
        </p:pic>
        <p:sp>
          <p:nvSpPr>
            <p:cNvPr id="35" name="TextBox 34">
              <a:extLst>
                <a:ext uri="{FF2B5EF4-FFF2-40B4-BE49-F238E27FC236}">
                  <a16:creationId xmlns:a16="http://schemas.microsoft.com/office/drawing/2014/main" id="{36D6C77F-8751-45A0-B4EA-C7AC6ED8A685}"/>
                </a:ext>
              </a:extLst>
            </p:cNvPr>
            <p:cNvSpPr txBox="1"/>
            <p:nvPr/>
          </p:nvSpPr>
          <p:spPr>
            <a:xfrm>
              <a:off x="1792986" y="5546920"/>
              <a:ext cx="4116932" cy="798680"/>
            </a:xfrm>
            <a:prstGeom prst="rect">
              <a:avLst/>
            </a:prstGeom>
            <a:noFill/>
          </p:spPr>
          <p:txBody>
            <a:bodyPr wrap="square" rtlCol="0">
              <a:spAutoFit/>
            </a:bodyPr>
            <a:lstStyle/>
            <a:p>
              <a:pPr algn="ctr">
                <a:lnSpc>
                  <a:spcPct val="80000"/>
                </a:lnSpc>
              </a:pPr>
              <a:r>
                <a:rPr lang="en-US" sz="5400" dirty="0" err="1">
                  <a:solidFill>
                    <a:schemeClr val="bg1"/>
                  </a:solidFill>
                  <a:latin typeface="Bebas Neue" panose="020B0606020202050201" pitchFamily="34" charset="0"/>
                </a:rPr>
                <a:t>Elbo</a:t>
              </a:r>
              <a:r>
                <a:rPr lang="en-US" sz="5400" dirty="0">
                  <a:solidFill>
                    <a:schemeClr val="bg1"/>
                  </a:solidFill>
                  <a:latin typeface="Bebas Neue" panose="020B0606020202050201" pitchFamily="34" charset="0"/>
                </a:rPr>
                <a:t> mechanisms</a:t>
              </a:r>
              <a:endParaRPr lang="en-SG" sz="5400" dirty="0">
                <a:solidFill>
                  <a:schemeClr val="bg1"/>
                </a:solidFill>
                <a:latin typeface="Bebas Neue" panose="020B0606020202050201" pitchFamily="34" charset="0"/>
              </a:endParaRPr>
            </a:p>
          </p:txBody>
        </p:sp>
      </p:grpSp>
    </p:spTree>
    <p:extLst>
      <p:ext uri="{BB962C8B-B14F-4D97-AF65-F5344CB8AC3E}">
        <p14:creationId xmlns:p14="http://schemas.microsoft.com/office/powerpoint/2010/main" val="462794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6000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300" fill="hold"/>
                                        <p:tgtEl>
                                          <p:spTgt spid="27"/>
                                        </p:tgtEl>
                                        <p:attrNameLst>
                                          <p:attrName>ppt_x</p:attrName>
                                        </p:attrNameLst>
                                      </p:cBhvr>
                                      <p:tavLst>
                                        <p:tav tm="0">
                                          <p:val>
                                            <p:strVal val="#ppt_x"/>
                                          </p:val>
                                        </p:tav>
                                        <p:tav tm="100000">
                                          <p:val>
                                            <p:strVal val="#ppt_x"/>
                                          </p:val>
                                        </p:tav>
                                      </p:tavLst>
                                    </p:anim>
                                    <p:anim calcmode="lin" valueType="num">
                                      <p:cBhvr additive="base">
                                        <p:cTn id="8" dur="300" fill="hold"/>
                                        <p:tgtEl>
                                          <p:spTgt spid="27"/>
                                        </p:tgtEl>
                                        <p:attrNameLst>
                                          <p:attrName>ppt_y</p:attrName>
                                        </p:attrNameLst>
                                      </p:cBhvr>
                                      <p:tavLst>
                                        <p:tav tm="0">
                                          <p:val>
                                            <p:strVal val="0-#ppt_h/2"/>
                                          </p:val>
                                        </p:tav>
                                        <p:tav tm="100000">
                                          <p:val>
                                            <p:strVal val="#ppt_y"/>
                                          </p:val>
                                        </p:tav>
                                      </p:tavLst>
                                    </p:anim>
                                  </p:childTnLst>
                                </p:cTn>
                              </p:par>
                            </p:childTnLst>
                          </p:cTn>
                        </p:par>
                        <p:par>
                          <p:cTn id="9" fill="hold">
                            <p:stCondLst>
                              <p:cond delay="300"/>
                            </p:stCondLst>
                            <p:childTnLst>
                              <p:par>
                                <p:cTn id="10" presetID="2" presetClass="entr" presetSubtype="8" decel="60000" fill="hold" nodeType="after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additive="base">
                                        <p:cTn id="12" dur="300" fill="hold"/>
                                        <p:tgtEl>
                                          <p:spTgt spid="22"/>
                                        </p:tgtEl>
                                        <p:attrNameLst>
                                          <p:attrName>ppt_x</p:attrName>
                                        </p:attrNameLst>
                                      </p:cBhvr>
                                      <p:tavLst>
                                        <p:tav tm="0">
                                          <p:val>
                                            <p:strVal val="0-#ppt_w/2"/>
                                          </p:val>
                                        </p:tav>
                                        <p:tav tm="100000">
                                          <p:val>
                                            <p:strVal val="#ppt_x"/>
                                          </p:val>
                                        </p:tav>
                                      </p:tavLst>
                                    </p:anim>
                                    <p:anim calcmode="lin" valueType="num">
                                      <p:cBhvr additive="base">
                                        <p:cTn id="13" dur="300" fill="hold"/>
                                        <p:tgtEl>
                                          <p:spTgt spid="22"/>
                                        </p:tgtEl>
                                        <p:attrNameLst>
                                          <p:attrName>ppt_y</p:attrName>
                                        </p:attrNameLst>
                                      </p:cBhvr>
                                      <p:tavLst>
                                        <p:tav tm="0">
                                          <p:val>
                                            <p:strVal val="#ppt_y"/>
                                          </p:val>
                                        </p:tav>
                                        <p:tav tm="100000">
                                          <p:val>
                                            <p:strVal val="#ppt_y"/>
                                          </p:val>
                                        </p:tav>
                                      </p:tavLst>
                                    </p:anim>
                                  </p:childTnLst>
                                </p:cTn>
                              </p:par>
                            </p:childTnLst>
                          </p:cTn>
                        </p:par>
                        <p:par>
                          <p:cTn id="14" fill="hold">
                            <p:stCondLst>
                              <p:cond delay="600"/>
                            </p:stCondLst>
                            <p:childTnLst>
                              <p:par>
                                <p:cTn id="15" presetID="2" presetClass="entr" presetSubtype="1" decel="60000" fill="hold" nodeType="afterEffect">
                                  <p:stCondLst>
                                    <p:cond delay="0"/>
                                  </p:stCondLst>
                                  <p:childTnLst>
                                    <p:set>
                                      <p:cBhvr>
                                        <p:cTn id="16" dur="1" fill="hold">
                                          <p:stCondLst>
                                            <p:cond delay="0"/>
                                          </p:stCondLst>
                                        </p:cTn>
                                        <p:tgtEl>
                                          <p:spTgt spid="39"/>
                                        </p:tgtEl>
                                        <p:attrNameLst>
                                          <p:attrName>style.visibility</p:attrName>
                                        </p:attrNameLst>
                                      </p:cBhvr>
                                      <p:to>
                                        <p:strVal val="visible"/>
                                      </p:to>
                                    </p:set>
                                    <p:anim calcmode="lin" valueType="num">
                                      <p:cBhvr additive="base">
                                        <p:cTn id="17" dur="300" fill="hold"/>
                                        <p:tgtEl>
                                          <p:spTgt spid="39"/>
                                        </p:tgtEl>
                                        <p:attrNameLst>
                                          <p:attrName>ppt_x</p:attrName>
                                        </p:attrNameLst>
                                      </p:cBhvr>
                                      <p:tavLst>
                                        <p:tav tm="0">
                                          <p:val>
                                            <p:strVal val="#ppt_x"/>
                                          </p:val>
                                        </p:tav>
                                        <p:tav tm="100000">
                                          <p:val>
                                            <p:strVal val="#ppt_x"/>
                                          </p:val>
                                        </p:tav>
                                      </p:tavLst>
                                    </p:anim>
                                    <p:anim calcmode="lin" valueType="num">
                                      <p:cBhvr additive="base">
                                        <p:cTn id="18" dur="300" fill="hold"/>
                                        <p:tgtEl>
                                          <p:spTgt spid="39"/>
                                        </p:tgtEl>
                                        <p:attrNameLst>
                                          <p:attrName>ppt_y</p:attrName>
                                        </p:attrNameLst>
                                      </p:cBhvr>
                                      <p:tavLst>
                                        <p:tav tm="0">
                                          <p:val>
                                            <p:strVal val="0-#ppt_h/2"/>
                                          </p:val>
                                        </p:tav>
                                        <p:tav tm="100000">
                                          <p:val>
                                            <p:strVal val="#ppt_y"/>
                                          </p:val>
                                        </p:tav>
                                      </p:tavLst>
                                    </p:anim>
                                  </p:childTnLst>
                                </p:cTn>
                              </p:par>
                              <p:par>
                                <p:cTn id="19" presetID="2" presetClass="entr" presetSubtype="1" decel="60000" fill="hold" nodeType="withEffect">
                                  <p:stCondLst>
                                    <p:cond delay="0"/>
                                  </p:stCondLst>
                                  <p:childTnLst>
                                    <p:set>
                                      <p:cBhvr>
                                        <p:cTn id="20" dur="1" fill="hold">
                                          <p:stCondLst>
                                            <p:cond delay="0"/>
                                          </p:stCondLst>
                                        </p:cTn>
                                        <p:tgtEl>
                                          <p:spTgt spid="40"/>
                                        </p:tgtEl>
                                        <p:attrNameLst>
                                          <p:attrName>style.visibility</p:attrName>
                                        </p:attrNameLst>
                                      </p:cBhvr>
                                      <p:to>
                                        <p:strVal val="visible"/>
                                      </p:to>
                                    </p:set>
                                    <p:anim calcmode="lin" valueType="num">
                                      <p:cBhvr additive="base">
                                        <p:cTn id="21" dur="300" fill="hold"/>
                                        <p:tgtEl>
                                          <p:spTgt spid="40"/>
                                        </p:tgtEl>
                                        <p:attrNameLst>
                                          <p:attrName>ppt_x</p:attrName>
                                        </p:attrNameLst>
                                      </p:cBhvr>
                                      <p:tavLst>
                                        <p:tav tm="0">
                                          <p:val>
                                            <p:strVal val="#ppt_x"/>
                                          </p:val>
                                        </p:tav>
                                        <p:tav tm="100000">
                                          <p:val>
                                            <p:strVal val="#ppt_x"/>
                                          </p:val>
                                        </p:tav>
                                      </p:tavLst>
                                    </p:anim>
                                    <p:anim calcmode="lin" valueType="num">
                                      <p:cBhvr additive="base">
                                        <p:cTn id="22" dur="300" fill="hold"/>
                                        <p:tgtEl>
                                          <p:spTgt spid="40"/>
                                        </p:tgtEl>
                                        <p:attrNameLst>
                                          <p:attrName>ppt_y</p:attrName>
                                        </p:attrNameLst>
                                      </p:cBhvr>
                                      <p:tavLst>
                                        <p:tav tm="0">
                                          <p:val>
                                            <p:strVal val="0-#ppt_h/2"/>
                                          </p:val>
                                        </p:tav>
                                        <p:tav tm="100000">
                                          <p:val>
                                            <p:strVal val="#ppt_y"/>
                                          </p:val>
                                        </p:tav>
                                      </p:tavLst>
                                    </p:anim>
                                  </p:childTnLst>
                                </p:cTn>
                              </p:par>
                              <p:par>
                                <p:cTn id="23" presetID="2" presetClass="entr" presetSubtype="4" decel="60000" fill="hold" nodeType="withEffect">
                                  <p:stCondLst>
                                    <p:cond delay="0"/>
                                  </p:stCondLst>
                                  <p:childTnLst>
                                    <p:set>
                                      <p:cBhvr>
                                        <p:cTn id="24" dur="1" fill="hold">
                                          <p:stCondLst>
                                            <p:cond delay="0"/>
                                          </p:stCondLst>
                                        </p:cTn>
                                        <p:tgtEl>
                                          <p:spTgt spid="42"/>
                                        </p:tgtEl>
                                        <p:attrNameLst>
                                          <p:attrName>style.visibility</p:attrName>
                                        </p:attrNameLst>
                                      </p:cBhvr>
                                      <p:to>
                                        <p:strVal val="visible"/>
                                      </p:to>
                                    </p:set>
                                    <p:anim calcmode="lin" valueType="num">
                                      <p:cBhvr additive="base">
                                        <p:cTn id="25" dur="300" fill="hold"/>
                                        <p:tgtEl>
                                          <p:spTgt spid="42"/>
                                        </p:tgtEl>
                                        <p:attrNameLst>
                                          <p:attrName>ppt_x</p:attrName>
                                        </p:attrNameLst>
                                      </p:cBhvr>
                                      <p:tavLst>
                                        <p:tav tm="0">
                                          <p:val>
                                            <p:strVal val="#ppt_x"/>
                                          </p:val>
                                        </p:tav>
                                        <p:tav tm="100000">
                                          <p:val>
                                            <p:strVal val="#ppt_x"/>
                                          </p:val>
                                        </p:tav>
                                      </p:tavLst>
                                    </p:anim>
                                    <p:anim calcmode="lin" valueType="num">
                                      <p:cBhvr additive="base">
                                        <p:cTn id="26" dur="300" fill="hold"/>
                                        <p:tgtEl>
                                          <p:spTgt spid="42"/>
                                        </p:tgtEl>
                                        <p:attrNameLst>
                                          <p:attrName>ppt_y</p:attrName>
                                        </p:attrNameLst>
                                      </p:cBhvr>
                                      <p:tavLst>
                                        <p:tav tm="0">
                                          <p:val>
                                            <p:strVal val="1+#ppt_h/2"/>
                                          </p:val>
                                        </p:tav>
                                        <p:tav tm="100000">
                                          <p:val>
                                            <p:strVal val="#ppt_y"/>
                                          </p:val>
                                        </p:tav>
                                      </p:tavLst>
                                    </p:anim>
                                  </p:childTnLst>
                                </p:cTn>
                              </p:par>
                              <p:par>
                                <p:cTn id="27" presetID="2" presetClass="entr" presetSubtype="4" decel="60000" fill="hold" nodeType="withEffect">
                                  <p:stCondLst>
                                    <p:cond delay="0"/>
                                  </p:stCondLst>
                                  <p:childTnLst>
                                    <p:set>
                                      <p:cBhvr>
                                        <p:cTn id="28" dur="1" fill="hold">
                                          <p:stCondLst>
                                            <p:cond delay="0"/>
                                          </p:stCondLst>
                                        </p:cTn>
                                        <p:tgtEl>
                                          <p:spTgt spid="41"/>
                                        </p:tgtEl>
                                        <p:attrNameLst>
                                          <p:attrName>style.visibility</p:attrName>
                                        </p:attrNameLst>
                                      </p:cBhvr>
                                      <p:to>
                                        <p:strVal val="visible"/>
                                      </p:to>
                                    </p:set>
                                    <p:anim calcmode="lin" valueType="num">
                                      <p:cBhvr additive="base">
                                        <p:cTn id="29" dur="300" fill="hold"/>
                                        <p:tgtEl>
                                          <p:spTgt spid="41"/>
                                        </p:tgtEl>
                                        <p:attrNameLst>
                                          <p:attrName>ppt_x</p:attrName>
                                        </p:attrNameLst>
                                      </p:cBhvr>
                                      <p:tavLst>
                                        <p:tav tm="0">
                                          <p:val>
                                            <p:strVal val="#ppt_x"/>
                                          </p:val>
                                        </p:tav>
                                        <p:tav tm="100000">
                                          <p:val>
                                            <p:strVal val="#ppt_x"/>
                                          </p:val>
                                        </p:tav>
                                      </p:tavLst>
                                    </p:anim>
                                    <p:anim calcmode="lin" valueType="num">
                                      <p:cBhvr additive="base">
                                        <p:cTn id="30" dur="300" fill="hold"/>
                                        <p:tgtEl>
                                          <p:spTgt spid="4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Straight Connector 21">
            <a:extLst>
              <a:ext uri="{FF2B5EF4-FFF2-40B4-BE49-F238E27FC236}">
                <a16:creationId xmlns:a16="http://schemas.microsoft.com/office/drawing/2014/main" id="{D56C73D5-D2A2-4C40-90CC-E775D4AB9395}"/>
              </a:ext>
            </a:extLst>
          </p:cNvPr>
          <p:cNvCxnSpPr>
            <a:cxnSpLocks/>
          </p:cNvCxnSpPr>
          <p:nvPr/>
        </p:nvCxnSpPr>
        <p:spPr>
          <a:xfrm>
            <a:off x="1644010" y="3379572"/>
            <a:ext cx="8593889" cy="0"/>
          </a:xfrm>
          <a:prstGeom prst="line">
            <a:avLst/>
          </a:prstGeom>
          <a:ln w="28575">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91311DC-6B9B-4F7A-B878-9A87B318E9BD}"/>
              </a:ext>
            </a:extLst>
          </p:cNvPr>
          <p:cNvCxnSpPr>
            <a:cxnSpLocks/>
          </p:cNvCxnSpPr>
          <p:nvPr/>
        </p:nvCxnSpPr>
        <p:spPr>
          <a:xfrm flipH="1">
            <a:off x="6096000" y="702644"/>
            <a:ext cx="47368" cy="5675007"/>
          </a:xfrm>
          <a:prstGeom prst="line">
            <a:avLst/>
          </a:prstGeom>
          <a:ln w="28575">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5325844A-C679-46A5-8251-65C2373AFF06}"/>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 r="2418" b="19082"/>
          <a:stretch/>
        </p:blipFill>
        <p:spPr>
          <a:xfrm>
            <a:off x="2718327" y="381494"/>
            <a:ext cx="2266250" cy="2359460"/>
          </a:xfrm>
          <a:prstGeom prst="rect">
            <a:avLst/>
          </a:prstGeom>
        </p:spPr>
      </p:pic>
      <p:sp>
        <p:nvSpPr>
          <p:cNvPr id="28" name="TextBox 27">
            <a:extLst>
              <a:ext uri="{FF2B5EF4-FFF2-40B4-BE49-F238E27FC236}">
                <a16:creationId xmlns:a16="http://schemas.microsoft.com/office/drawing/2014/main" id="{994A6050-030B-47AD-8198-1D7BA642FD04}"/>
              </a:ext>
            </a:extLst>
          </p:cNvPr>
          <p:cNvSpPr txBox="1"/>
          <p:nvPr/>
        </p:nvSpPr>
        <p:spPr>
          <a:xfrm>
            <a:off x="2134540" y="2456242"/>
            <a:ext cx="3470930" cy="923330"/>
          </a:xfrm>
          <a:prstGeom prst="rect">
            <a:avLst/>
          </a:prstGeom>
          <a:noFill/>
        </p:spPr>
        <p:txBody>
          <a:bodyPr wrap="square" rtlCol="0">
            <a:spAutoFit/>
          </a:bodyPr>
          <a:lstStyle/>
          <a:p>
            <a:pPr algn="ctr"/>
            <a:r>
              <a:rPr lang="en-US" sz="5400" dirty="0">
                <a:solidFill>
                  <a:schemeClr val="tx1">
                    <a:lumMod val="65000"/>
                    <a:lumOff val="35000"/>
                  </a:schemeClr>
                </a:solidFill>
                <a:latin typeface="Bebas Neue" panose="020B0606020202050201" pitchFamily="34" charset="0"/>
              </a:rPr>
              <a:t>storyboard</a:t>
            </a:r>
            <a:endParaRPr lang="en-SG" sz="5400" dirty="0">
              <a:solidFill>
                <a:schemeClr val="tx1">
                  <a:lumMod val="65000"/>
                  <a:lumOff val="35000"/>
                </a:schemeClr>
              </a:solidFill>
              <a:latin typeface="Bebas Neue" panose="020B0606020202050201" pitchFamily="34" charset="0"/>
            </a:endParaRPr>
          </a:p>
        </p:txBody>
      </p:sp>
      <p:pic>
        <p:nvPicPr>
          <p:cNvPr id="31" name="Graphic 30">
            <a:extLst>
              <a:ext uri="{FF2B5EF4-FFF2-40B4-BE49-F238E27FC236}">
                <a16:creationId xmlns:a16="http://schemas.microsoft.com/office/drawing/2014/main" id="{CFF1815F-F656-42F6-9782-DB8A5A5A6BE8}"/>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19708"/>
          <a:stretch/>
        </p:blipFill>
        <p:spPr>
          <a:xfrm>
            <a:off x="7604717" y="670534"/>
            <a:ext cx="1171832" cy="1176109"/>
          </a:xfrm>
          <a:prstGeom prst="rect">
            <a:avLst/>
          </a:prstGeom>
        </p:spPr>
      </p:pic>
      <p:sp>
        <p:nvSpPr>
          <p:cNvPr id="32" name="TextBox 31">
            <a:extLst>
              <a:ext uri="{FF2B5EF4-FFF2-40B4-BE49-F238E27FC236}">
                <a16:creationId xmlns:a16="http://schemas.microsoft.com/office/drawing/2014/main" id="{80497C0B-ABEA-4FC2-9D65-AA0A02737860}"/>
              </a:ext>
            </a:extLst>
          </p:cNvPr>
          <p:cNvSpPr txBox="1"/>
          <p:nvPr/>
        </p:nvSpPr>
        <p:spPr>
          <a:xfrm>
            <a:off x="6455168" y="1916094"/>
            <a:ext cx="3470930" cy="1463478"/>
          </a:xfrm>
          <a:prstGeom prst="rect">
            <a:avLst/>
          </a:prstGeom>
          <a:noFill/>
        </p:spPr>
        <p:txBody>
          <a:bodyPr wrap="square" rtlCol="0">
            <a:spAutoFit/>
          </a:bodyPr>
          <a:lstStyle/>
          <a:p>
            <a:pPr algn="ctr">
              <a:lnSpc>
                <a:spcPct val="80000"/>
              </a:lnSpc>
            </a:pPr>
            <a:r>
              <a:rPr lang="en-US" sz="5400" dirty="0">
                <a:solidFill>
                  <a:schemeClr val="tx1">
                    <a:lumMod val="65000"/>
                    <a:lumOff val="35000"/>
                  </a:schemeClr>
                </a:solidFill>
                <a:latin typeface="Bebas Neue" panose="020B0606020202050201" pitchFamily="34" charset="0"/>
              </a:rPr>
              <a:t>Software</a:t>
            </a:r>
          </a:p>
          <a:p>
            <a:pPr algn="ctr">
              <a:lnSpc>
                <a:spcPct val="80000"/>
              </a:lnSpc>
            </a:pPr>
            <a:r>
              <a:rPr lang="en-US" sz="5400" dirty="0">
                <a:solidFill>
                  <a:schemeClr val="tx1">
                    <a:lumMod val="65000"/>
                    <a:lumOff val="35000"/>
                  </a:schemeClr>
                </a:solidFill>
                <a:latin typeface="Bebas Neue" panose="020B0606020202050201" pitchFamily="34" charset="0"/>
              </a:rPr>
              <a:t>framework</a:t>
            </a:r>
            <a:endParaRPr lang="en-SG" sz="5400" dirty="0">
              <a:solidFill>
                <a:schemeClr val="tx1">
                  <a:lumMod val="65000"/>
                  <a:lumOff val="35000"/>
                </a:schemeClr>
              </a:solidFill>
              <a:latin typeface="Bebas Neue" panose="020B0606020202050201" pitchFamily="34" charset="0"/>
            </a:endParaRPr>
          </a:p>
        </p:txBody>
      </p:sp>
      <p:pic>
        <p:nvPicPr>
          <p:cNvPr id="34" name="Graphic 33">
            <a:extLst>
              <a:ext uri="{FF2B5EF4-FFF2-40B4-BE49-F238E27FC236}">
                <a16:creationId xmlns:a16="http://schemas.microsoft.com/office/drawing/2014/main" id="{6FFE0D1C-015C-49E0-AADE-6BC473C4FA49}"/>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4508"/>
          <a:stretch/>
        </p:blipFill>
        <p:spPr>
          <a:xfrm>
            <a:off x="3041220" y="3722614"/>
            <a:ext cx="1620464" cy="1731706"/>
          </a:xfrm>
          <a:prstGeom prst="rect">
            <a:avLst/>
          </a:prstGeom>
        </p:spPr>
      </p:pic>
      <p:sp>
        <p:nvSpPr>
          <p:cNvPr id="35" name="TextBox 34">
            <a:extLst>
              <a:ext uri="{FF2B5EF4-FFF2-40B4-BE49-F238E27FC236}">
                <a16:creationId xmlns:a16="http://schemas.microsoft.com/office/drawing/2014/main" id="{36D6C77F-8751-45A0-B4EA-C7AC6ED8A685}"/>
              </a:ext>
            </a:extLst>
          </p:cNvPr>
          <p:cNvSpPr txBox="1"/>
          <p:nvPr/>
        </p:nvSpPr>
        <p:spPr>
          <a:xfrm>
            <a:off x="1792986" y="5546920"/>
            <a:ext cx="4116932" cy="798680"/>
          </a:xfrm>
          <a:prstGeom prst="rect">
            <a:avLst/>
          </a:prstGeom>
          <a:noFill/>
        </p:spPr>
        <p:txBody>
          <a:bodyPr wrap="square" rtlCol="0">
            <a:spAutoFit/>
          </a:bodyPr>
          <a:lstStyle/>
          <a:p>
            <a:pPr algn="ctr">
              <a:lnSpc>
                <a:spcPct val="80000"/>
              </a:lnSpc>
            </a:pPr>
            <a:r>
              <a:rPr lang="en-US" sz="5400" dirty="0" err="1">
                <a:solidFill>
                  <a:schemeClr val="tx1">
                    <a:lumMod val="65000"/>
                    <a:lumOff val="35000"/>
                  </a:schemeClr>
                </a:solidFill>
                <a:latin typeface="Bebas Neue" panose="020B0606020202050201" pitchFamily="34" charset="0"/>
              </a:rPr>
              <a:t>Elbo</a:t>
            </a:r>
            <a:r>
              <a:rPr lang="en-US" sz="5400" dirty="0">
                <a:solidFill>
                  <a:schemeClr val="tx1">
                    <a:lumMod val="65000"/>
                    <a:lumOff val="35000"/>
                  </a:schemeClr>
                </a:solidFill>
                <a:latin typeface="Bebas Neue" panose="020B0606020202050201" pitchFamily="34" charset="0"/>
              </a:rPr>
              <a:t> mechanisms</a:t>
            </a:r>
            <a:endParaRPr lang="en-SG" sz="5400" dirty="0">
              <a:solidFill>
                <a:schemeClr val="tx1">
                  <a:lumMod val="65000"/>
                  <a:lumOff val="35000"/>
                </a:schemeClr>
              </a:solidFill>
              <a:latin typeface="Bebas Neue" panose="020B0606020202050201" pitchFamily="34" charset="0"/>
            </a:endParaRPr>
          </a:p>
        </p:txBody>
      </p:sp>
      <p:pic>
        <p:nvPicPr>
          <p:cNvPr id="37" name="Graphic 36">
            <a:extLst>
              <a:ext uri="{FF2B5EF4-FFF2-40B4-BE49-F238E27FC236}">
                <a16:creationId xmlns:a16="http://schemas.microsoft.com/office/drawing/2014/main" id="{1C6F876C-4834-4F32-8383-1124E0073577}"/>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0531"/>
          <a:stretch/>
        </p:blipFill>
        <p:spPr>
          <a:xfrm>
            <a:off x="7616528" y="3664739"/>
            <a:ext cx="1148207" cy="1284110"/>
          </a:xfrm>
          <a:prstGeom prst="rect">
            <a:avLst/>
          </a:prstGeom>
        </p:spPr>
      </p:pic>
      <p:sp>
        <p:nvSpPr>
          <p:cNvPr id="38" name="TextBox 37">
            <a:extLst>
              <a:ext uri="{FF2B5EF4-FFF2-40B4-BE49-F238E27FC236}">
                <a16:creationId xmlns:a16="http://schemas.microsoft.com/office/drawing/2014/main" id="{934AA871-8710-4DC0-92A5-DA9492E2778E}"/>
              </a:ext>
            </a:extLst>
          </p:cNvPr>
          <p:cNvSpPr txBox="1"/>
          <p:nvPr/>
        </p:nvSpPr>
        <p:spPr>
          <a:xfrm>
            <a:off x="6874042" y="4914173"/>
            <a:ext cx="2633181" cy="1463478"/>
          </a:xfrm>
          <a:prstGeom prst="rect">
            <a:avLst/>
          </a:prstGeom>
          <a:noFill/>
        </p:spPr>
        <p:txBody>
          <a:bodyPr wrap="square" rtlCol="0">
            <a:spAutoFit/>
          </a:bodyPr>
          <a:lstStyle/>
          <a:p>
            <a:pPr algn="ctr">
              <a:lnSpc>
                <a:spcPct val="80000"/>
              </a:lnSpc>
            </a:pPr>
            <a:r>
              <a:rPr lang="en-US" sz="5400" dirty="0">
                <a:solidFill>
                  <a:schemeClr val="bg1"/>
                </a:solidFill>
                <a:latin typeface="Bebas Neue" panose="020B0606020202050201" pitchFamily="34" charset="0"/>
              </a:rPr>
              <a:t>Machine &amp; </a:t>
            </a:r>
          </a:p>
          <a:p>
            <a:pPr algn="ctr">
              <a:lnSpc>
                <a:spcPct val="80000"/>
              </a:lnSpc>
            </a:pPr>
            <a:r>
              <a:rPr lang="en-US" sz="5400" dirty="0" err="1">
                <a:solidFill>
                  <a:schemeClr val="bg1"/>
                </a:solidFill>
                <a:latin typeface="Bebas Neue" panose="020B0606020202050201" pitchFamily="34" charset="0"/>
              </a:rPr>
              <a:t>ui</a:t>
            </a:r>
            <a:r>
              <a:rPr lang="en-US" sz="5400" dirty="0">
                <a:solidFill>
                  <a:schemeClr val="bg1"/>
                </a:solidFill>
                <a:latin typeface="Bebas Neue" panose="020B0606020202050201" pitchFamily="34" charset="0"/>
              </a:rPr>
              <a:t> design</a:t>
            </a:r>
            <a:endParaRPr lang="en-SG" sz="5400" dirty="0">
              <a:solidFill>
                <a:schemeClr val="bg1"/>
              </a:solidFill>
              <a:latin typeface="Bebas Neue" panose="020B0606020202050201" pitchFamily="34" charset="0"/>
            </a:endParaRPr>
          </a:p>
        </p:txBody>
      </p:sp>
      <p:pic>
        <p:nvPicPr>
          <p:cNvPr id="14" name="Graphic 13">
            <a:extLst>
              <a:ext uri="{FF2B5EF4-FFF2-40B4-BE49-F238E27FC236}">
                <a16:creationId xmlns:a16="http://schemas.microsoft.com/office/drawing/2014/main" id="{C07AABC3-5CCB-40BF-90FF-7E2E76151043}"/>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l="2472" t="13101" r="28" b="36217"/>
          <a:stretch/>
        </p:blipFill>
        <p:spPr>
          <a:xfrm rot="2785091" flipH="1">
            <a:off x="9202919" y="4327293"/>
            <a:ext cx="1071562" cy="603425"/>
          </a:xfrm>
          <a:prstGeom prst="rect">
            <a:avLst/>
          </a:prstGeom>
        </p:spPr>
      </p:pic>
    </p:spTree>
    <p:extLst>
      <p:ext uri="{BB962C8B-B14F-4D97-AF65-F5344CB8AC3E}">
        <p14:creationId xmlns:p14="http://schemas.microsoft.com/office/powerpoint/2010/main" val="1492942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6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826D4801-33AD-4D18-814F-563C9B2CF65E}"/>
              </a:ext>
            </a:extLst>
          </p:cNvPr>
          <p:cNvGrpSpPr/>
          <p:nvPr/>
        </p:nvGrpSpPr>
        <p:grpSpPr>
          <a:xfrm>
            <a:off x="6874042" y="3657504"/>
            <a:ext cx="3166370" cy="2712912"/>
            <a:chOff x="6874042" y="3664739"/>
            <a:chExt cx="3166370" cy="2712912"/>
          </a:xfrm>
        </p:grpSpPr>
        <p:pic>
          <p:nvPicPr>
            <p:cNvPr id="37" name="Graphic 36">
              <a:extLst>
                <a:ext uri="{FF2B5EF4-FFF2-40B4-BE49-F238E27FC236}">
                  <a16:creationId xmlns:a16="http://schemas.microsoft.com/office/drawing/2014/main" id="{1C6F876C-4834-4F32-8383-1124E0073577}"/>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b="10531"/>
            <a:stretch/>
          </p:blipFill>
          <p:spPr>
            <a:xfrm>
              <a:off x="7616528" y="3664739"/>
              <a:ext cx="1148207" cy="1284110"/>
            </a:xfrm>
            <a:prstGeom prst="rect">
              <a:avLst/>
            </a:prstGeom>
          </p:spPr>
        </p:pic>
        <p:sp>
          <p:nvSpPr>
            <p:cNvPr id="38" name="TextBox 37">
              <a:extLst>
                <a:ext uri="{FF2B5EF4-FFF2-40B4-BE49-F238E27FC236}">
                  <a16:creationId xmlns:a16="http://schemas.microsoft.com/office/drawing/2014/main" id="{934AA871-8710-4DC0-92A5-DA9492E2778E}"/>
                </a:ext>
              </a:extLst>
            </p:cNvPr>
            <p:cNvSpPr txBox="1"/>
            <p:nvPr/>
          </p:nvSpPr>
          <p:spPr>
            <a:xfrm>
              <a:off x="6874042" y="4914173"/>
              <a:ext cx="2633181" cy="1463478"/>
            </a:xfrm>
            <a:prstGeom prst="rect">
              <a:avLst/>
            </a:prstGeom>
            <a:noFill/>
          </p:spPr>
          <p:txBody>
            <a:bodyPr wrap="square" rtlCol="0">
              <a:spAutoFit/>
            </a:bodyPr>
            <a:lstStyle/>
            <a:p>
              <a:pPr algn="ctr">
                <a:lnSpc>
                  <a:spcPct val="80000"/>
                </a:lnSpc>
              </a:pPr>
              <a:r>
                <a:rPr lang="en-US" sz="5400" dirty="0">
                  <a:solidFill>
                    <a:schemeClr val="bg1"/>
                  </a:solidFill>
                  <a:latin typeface="Bebas Neue" panose="020B0606020202050201" pitchFamily="34" charset="0"/>
                </a:rPr>
                <a:t>Machine &amp; </a:t>
              </a:r>
            </a:p>
            <a:p>
              <a:pPr algn="ctr">
                <a:lnSpc>
                  <a:spcPct val="80000"/>
                </a:lnSpc>
              </a:pPr>
              <a:r>
                <a:rPr lang="en-US" sz="5400" dirty="0" err="1">
                  <a:solidFill>
                    <a:schemeClr val="bg1"/>
                  </a:solidFill>
                  <a:latin typeface="Bebas Neue" panose="020B0606020202050201" pitchFamily="34" charset="0"/>
                </a:rPr>
                <a:t>ui</a:t>
              </a:r>
              <a:r>
                <a:rPr lang="en-US" sz="5400" dirty="0">
                  <a:solidFill>
                    <a:schemeClr val="bg1"/>
                  </a:solidFill>
                  <a:latin typeface="Bebas Neue" panose="020B0606020202050201" pitchFamily="34" charset="0"/>
                </a:rPr>
                <a:t> design</a:t>
              </a:r>
              <a:endParaRPr lang="en-SG" sz="5400" dirty="0">
                <a:solidFill>
                  <a:schemeClr val="bg1"/>
                </a:solidFill>
                <a:latin typeface="Bebas Neue" panose="020B0606020202050201" pitchFamily="34" charset="0"/>
              </a:endParaRPr>
            </a:p>
          </p:txBody>
        </p:sp>
        <p:pic>
          <p:nvPicPr>
            <p:cNvPr id="14" name="Graphic 13">
              <a:extLst>
                <a:ext uri="{FF2B5EF4-FFF2-40B4-BE49-F238E27FC236}">
                  <a16:creationId xmlns:a16="http://schemas.microsoft.com/office/drawing/2014/main" id="{C07AABC3-5CCB-40BF-90FF-7E2E76151043}"/>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2472" t="13101" r="28" b="36217"/>
            <a:stretch/>
          </p:blipFill>
          <p:spPr>
            <a:xfrm rot="2785091" flipH="1">
              <a:off x="9202919" y="4327293"/>
              <a:ext cx="1071562" cy="603425"/>
            </a:xfrm>
            <a:prstGeom prst="rect">
              <a:avLst/>
            </a:prstGeom>
          </p:spPr>
        </p:pic>
      </p:grpSp>
      <p:pic>
        <p:nvPicPr>
          <p:cNvPr id="12" name="Picture 11">
            <a:extLst>
              <a:ext uri="{FF2B5EF4-FFF2-40B4-BE49-F238E27FC236}">
                <a16:creationId xmlns:a16="http://schemas.microsoft.com/office/drawing/2014/main" id="{C8D56201-6910-46A5-A26A-91902A325A8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7719" y="649077"/>
            <a:ext cx="8336561" cy="5559845"/>
          </a:xfrm>
          <a:prstGeom prst="rect">
            <a:avLst/>
          </a:prstGeom>
          <a:effectLst>
            <a:softEdge rad="63500"/>
          </a:effectLst>
        </p:spPr>
      </p:pic>
    </p:spTree>
    <p:extLst>
      <p:ext uri="{BB962C8B-B14F-4D97-AF65-F5344CB8AC3E}">
        <p14:creationId xmlns:p14="http://schemas.microsoft.com/office/powerpoint/2010/main" val="3231000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2.08333E-7 1.48148E-6 L -0.16576 -0.23195 " pathEditMode="relative" rAng="0" ptsTypes="AA">
                                      <p:cBhvr>
                                        <p:cTn id="6" dur="1000" fill="hold"/>
                                        <p:tgtEl>
                                          <p:spTgt spid="2"/>
                                        </p:tgtEl>
                                        <p:attrNameLst>
                                          <p:attrName>ppt_x</p:attrName>
                                          <p:attrName>ppt_y</p:attrName>
                                        </p:attrNameLst>
                                      </p:cBhvr>
                                      <p:rCtr x="-8294" y="-11597"/>
                                    </p:animMotion>
                                  </p:childTnLst>
                                </p:cTn>
                              </p:par>
                            </p:childTnLst>
                          </p:cTn>
                        </p:par>
                      </p:childTnLst>
                    </p:cTn>
                  </p:par>
                  <p:par>
                    <p:cTn id="7" fill="hold">
                      <p:stCondLst>
                        <p:cond delay="indefinite"/>
                      </p:stCondLst>
                      <p:childTnLst>
                        <p:par>
                          <p:cTn id="8" fill="hold">
                            <p:stCondLst>
                              <p:cond delay="0"/>
                            </p:stCondLst>
                            <p:childTnLst>
                              <p:par>
                                <p:cTn id="9" presetID="2" presetClass="entr" presetSubtype="1" decel="6000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ppt_x"/>
                                          </p:val>
                                        </p:tav>
                                        <p:tav tm="100000">
                                          <p:val>
                                            <p:strVal val="#ppt_x"/>
                                          </p:val>
                                        </p:tav>
                                      </p:tavLst>
                                    </p:anim>
                                    <p:anim calcmode="lin" valueType="num">
                                      <p:cBhvr additive="base">
                                        <p:cTn id="12"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xit" presetSubtype="4" accel="60000" fill="hold" nodeType="clickEffect">
                                  <p:stCondLst>
                                    <p:cond delay="0"/>
                                  </p:stCondLst>
                                  <p:childTnLst>
                                    <p:anim calcmode="lin" valueType="num">
                                      <p:cBhvr additive="base">
                                        <p:cTn id="16" dur="500"/>
                                        <p:tgtEl>
                                          <p:spTgt spid="12"/>
                                        </p:tgtEl>
                                        <p:attrNameLst>
                                          <p:attrName>ppt_x</p:attrName>
                                        </p:attrNameLst>
                                      </p:cBhvr>
                                      <p:tavLst>
                                        <p:tav tm="0">
                                          <p:val>
                                            <p:strVal val="ppt_x"/>
                                          </p:val>
                                        </p:tav>
                                        <p:tav tm="100000">
                                          <p:val>
                                            <p:strVal val="ppt_x"/>
                                          </p:val>
                                        </p:tav>
                                      </p:tavLst>
                                    </p:anim>
                                    <p:anim calcmode="lin" valueType="num">
                                      <p:cBhvr additive="base">
                                        <p:cTn id="17" dur="500"/>
                                        <p:tgtEl>
                                          <p:spTgt spid="12"/>
                                        </p:tgtEl>
                                        <p:attrNameLst>
                                          <p:attrName>ppt_y</p:attrName>
                                        </p:attrNameLst>
                                      </p:cBhvr>
                                      <p:tavLst>
                                        <p:tav tm="0">
                                          <p:val>
                                            <p:strVal val="ppt_y"/>
                                          </p:val>
                                        </p:tav>
                                        <p:tav tm="100000">
                                          <p:val>
                                            <p:strVal val="1+ppt_h/2"/>
                                          </p:val>
                                        </p:tav>
                                      </p:tavLst>
                                    </p:anim>
                                    <p:set>
                                      <p:cBhvr>
                                        <p:cTn id="1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01B8F40-4A37-400E-8F0F-076E6EC9948F}"/>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nvGrpSpPr>
          <p:cNvPr id="3" name="Group 2">
            <a:extLst>
              <a:ext uri="{FF2B5EF4-FFF2-40B4-BE49-F238E27FC236}">
                <a16:creationId xmlns:a16="http://schemas.microsoft.com/office/drawing/2014/main" id="{DFEA002C-5391-4C8E-AFF5-3985AD438C09}"/>
              </a:ext>
            </a:extLst>
          </p:cNvPr>
          <p:cNvGrpSpPr/>
          <p:nvPr/>
        </p:nvGrpSpPr>
        <p:grpSpPr>
          <a:xfrm>
            <a:off x="4458017" y="2055937"/>
            <a:ext cx="3404152" cy="2712912"/>
            <a:chOff x="6488555" y="3664739"/>
            <a:chExt cx="3404152" cy="2712912"/>
          </a:xfrm>
        </p:grpSpPr>
        <p:pic>
          <p:nvPicPr>
            <p:cNvPr id="37" name="Graphic 36">
              <a:extLst>
                <a:ext uri="{FF2B5EF4-FFF2-40B4-BE49-F238E27FC236}">
                  <a16:creationId xmlns:a16="http://schemas.microsoft.com/office/drawing/2014/main" id="{1C6F876C-4834-4F32-8383-1124E0073577}"/>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10531"/>
            <a:stretch/>
          </p:blipFill>
          <p:spPr>
            <a:xfrm>
              <a:off x="7616528" y="3664739"/>
              <a:ext cx="1148207" cy="1284110"/>
            </a:xfrm>
            <a:prstGeom prst="rect">
              <a:avLst/>
            </a:prstGeom>
          </p:spPr>
        </p:pic>
        <p:sp>
          <p:nvSpPr>
            <p:cNvPr id="38" name="TextBox 37">
              <a:extLst>
                <a:ext uri="{FF2B5EF4-FFF2-40B4-BE49-F238E27FC236}">
                  <a16:creationId xmlns:a16="http://schemas.microsoft.com/office/drawing/2014/main" id="{934AA871-8710-4DC0-92A5-DA9492E2778E}"/>
                </a:ext>
              </a:extLst>
            </p:cNvPr>
            <p:cNvSpPr txBox="1"/>
            <p:nvPr/>
          </p:nvSpPr>
          <p:spPr>
            <a:xfrm>
              <a:off x="6488555" y="4914173"/>
              <a:ext cx="3404152" cy="1463478"/>
            </a:xfrm>
            <a:prstGeom prst="rect">
              <a:avLst/>
            </a:prstGeom>
            <a:noFill/>
          </p:spPr>
          <p:txBody>
            <a:bodyPr wrap="square" rtlCol="0">
              <a:spAutoFit/>
            </a:bodyPr>
            <a:lstStyle/>
            <a:p>
              <a:pPr algn="ctr">
                <a:lnSpc>
                  <a:spcPct val="80000"/>
                </a:lnSpc>
              </a:pPr>
              <a:r>
                <a:rPr lang="en-US" sz="5400" dirty="0">
                  <a:latin typeface="Bebas Neue" panose="020B0606020202050201" pitchFamily="34" charset="0"/>
                </a:rPr>
                <a:t>Any questions for us?</a:t>
              </a:r>
              <a:endParaRPr lang="en-SG" sz="5400" dirty="0">
                <a:latin typeface="Bebas Neue" panose="020B0606020202050201" pitchFamily="34" charset="0"/>
              </a:endParaRPr>
            </a:p>
          </p:txBody>
        </p:sp>
      </p:grpSp>
    </p:spTree>
    <p:extLst>
      <p:ext uri="{BB962C8B-B14F-4D97-AF65-F5344CB8AC3E}">
        <p14:creationId xmlns:p14="http://schemas.microsoft.com/office/powerpoint/2010/main" val="17345515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D0EFE246-7020-4BA5-BA0D-460C32156227}"/>
              </a:ext>
            </a:extLst>
          </p:cNvPr>
          <p:cNvGrpSpPr/>
          <p:nvPr/>
        </p:nvGrpSpPr>
        <p:grpSpPr>
          <a:xfrm>
            <a:off x="907198" y="2144020"/>
            <a:ext cx="10294336" cy="1969227"/>
            <a:chOff x="907198" y="2144020"/>
            <a:chExt cx="10294336" cy="1969227"/>
          </a:xfrm>
        </p:grpSpPr>
        <p:cxnSp>
          <p:nvCxnSpPr>
            <p:cNvPr id="14" name="Straight Connector 13">
              <a:extLst>
                <a:ext uri="{FF2B5EF4-FFF2-40B4-BE49-F238E27FC236}">
                  <a16:creationId xmlns:a16="http://schemas.microsoft.com/office/drawing/2014/main" id="{A0590206-0ED7-4C9C-A08F-015B611652EF}"/>
                </a:ext>
              </a:extLst>
            </p:cNvPr>
            <p:cNvCxnSpPr>
              <a:cxnSpLocks/>
            </p:cNvCxnSpPr>
            <p:nvPr/>
          </p:nvCxnSpPr>
          <p:spPr>
            <a:xfrm>
              <a:off x="2598211" y="2617938"/>
              <a:ext cx="8324485" cy="0"/>
            </a:xfrm>
            <a:prstGeom prst="line">
              <a:avLst/>
            </a:prstGeom>
            <a:ln w="28575">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3C2B16DD-F023-4029-9C7E-B906517F9E25}"/>
                </a:ext>
              </a:extLst>
            </p:cNvPr>
            <p:cNvSpPr txBox="1">
              <a:spLocks/>
            </p:cNvSpPr>
            <p:nvPr/>
          </p:nvSpPr>
          <p:spPr>
            <a:xfrm>
              <a:off x="2057534" y="2724839"/>
              <a:ext cx="9144000" cy="1388408"/>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SG" sz="11500" dirty="0">
                  <a:solidFill>
                    <a:schemeClr val="bg1"/>
                  </a:solidFill>
                  <a:latin typeface="Bebas Neue" panose="020B0606020202050201" pitchFamily="34" charset="0"/>
                </a:rPr>
                <a:t>Our user storyboard</a:t>
              </a:r>
            </a:p>
          </p:txBody>
        </p:sp>
        <p:cxnSp>
          <p:nvCxnSpPr>
            <p:cNvPr id="15" name="Straight Connector 14">
              <a:extLst>
                <a:ext uri="{FF2B5EF4-FFF2-40B4-BE49-F238E27FC236}">
                  <a16:creationId xmlns:a16="http://schemas.microsoft.com/office/drawing/2014/main" id="{E78CEFD2-5E9F-4E60-B9FC-12B5E4410B92}"/>
                </a:ext>
              </a:extLst>
            </p:cNvPr>
            <p:cNvCxnSpPr>
              <a:cxnSpLocks/>
            </p:cNvCxnSpPr>
            <p:nvPr/>
          </p:nvCxnSpPr>
          <p:spPr>
            <a:xfrm>
              <a:off x="1671284" y="3860105"/>
              <a:ext cx="9251412" cy="0"/>
            </a:xfrm>
            <a:prstGeom prst="line">
              <a:avLst/>
            </a:prstGeom>
            <a:ln w="28575">
              <a:solidFill>
                <a:schemeClr val="bg1"/>
              </a:solidFill>
              <a:prstDash val="lgDash"/>
            </a:ln>
          </p:spPr>
          <p:style>
            <a:lnRef idx="1">
              <a:schemeClr val="accent1"/>
            </a:lnRef>
            <a:fillRef idx="0">
              <a:schemeClr val="accent1"/>
            </a:fillRef>
            <a:effectRef idx="0">
              <a:schemeClr val="accent1"/>
            </a:effectRef>
            <a:fontRef idx="minor">
              <a:schemeClr val="tx1"/>
            </a:fontRef>
          </p:style>
        </p:cxnSp>
        <p:grpSp>
          <p:nvGrpSpPr>
            <p:cNvPr id="5" name="Gears" descr="{&quot;Key&quot;:&quot;POWER_USER_SHAPE_ICON&quot;,&quot;Value&quot;:&quot;POWER_USER_SHAPE_ICON_STYLE_1&quot;}">
              <a:extLst>
                <a:ext uri="{FF2B5EF4-FFF2-40B4-BE49-F238E27FC236}">
                  <a16:creationId xmlns:a16="http://schemas.microsoft.com/office/drawing/2014/main" id="{A54A2B0A-6E38-455B-9231-C304C62E2DA1}"/>
                </a:ext>
              </a:extLst>
            </p:cNvPr>
            <p:cNvGrpSpPr>
              <a:grpSpLocks noChangeAspect="1"/>
            </p:cNvGrpSpPr>
            <p:nvPr>
              <p:custDataLst>
                <p:tags r:id="rId4"/>
              </p:custDataLst>
            </p:nvPr>
          </p:nvGrpSpPr>
          <p:grpSpPr bwMode="auto">
            <a:xfrm>
              <a:off x="907198" y="2144020"/>
              <a:ext cx="1797902" cy="1918567"/>
              <a:chOff x="8" y="8"/>
              <a:chExt cx="447" cy="477"/>
            </a:xfrm>
            <a:solidFill>
              <a:schemeClr val="bg1"/>
            </a:solidFill>
          </p:grpSpPr>
          <p:sp>
            <p:nvSpPr>
              <p:cNvPr id="6" name="Gears">
                <a:extLst>
                  <a:ext uri="{FF2B5EF4-FFF2-40B4-BE49-F238E27FC236}">
                    <a16:creationId xmlns:a16="http://schemas.microsoft.com/office/drawing/2014/main" id="{297E917E-D446-46B9-BE36-0309ACCA96CB}"/>
                  </a:ext>
                </a:extLst>
              </p:cNvPr>
              <p:cNvSpPr>
                <a:spLocks noEditPoints="1"/>
              </p:cNvSpPr>
              <p:nvPr>
                <p:custDataLst>
                  <p:tags r:id="rId5"/>
                </p:custDataLst>
              </p:nvPr>
            </p:nvSpPr>
            <p:spPr bwMode="auto">
              <a:xfrm>
                <a:off x="209" y="8"/>
                <a:ext cx="246" cy="246"/>
              </a:xfrm>
              <a:custGeom>
                <a:avLst/>
                <a:gdLst>
                  <a:gd name="T0" fmla="*/ 569 w 630"/>
                  <a:gd name="T1" fmla="*/ 128 h 630"/>
                  <a:gd name="T2" fmla="*/ 501 w 630"/>
                  <a:gd name="T3" fmla="*/ 63 h 630"/>
                  <a:gd name="T4" fmla="*/ 415 w 630"/>
                  <a:gd name="T5" fmla="*/ 101 h 630"/>
                  <a:gd name="T6" fmla="*/ 372 w 630"/>
                  <a:gd name="T7" fmla="*/ 86 h 630"/>
                  <a:gd name="T8" fmla="*/ 325 w 630"/>
                  <a:gd name="T9" fmla="*/ 0 h 630"/>
                  <a:gd name="T10" fmla="*/ 305 w 630"/>
                  <a:gd name="T11" fmla="*/ 0 h 630"/>
                  <a:gd name="T12" fmla="*/ 262 w 630"/>
                  <a:gd name="T13" fmla="*/ 85 h 630"/>
                  <a:gd name="T14" fmla="*/ 245 w 630"/>
                  <a:gd name="T15" fmla="*/ 89 h 630"/>
                  <a:gd name="T16" fmla="*/ 191 w 630"/>
                  <a:gd name="T17" fmla="*/ 114 h 630"/>
                  <a:gd name="T18" fmla="*/ 127 w 630"/>
                  <a:gd name="T19" fmla="*/ 61 h 630"/>
                  <a:gd name="T20" fmla="*/ 91 w 630"/>
                  <a:gd name="T21" fmla="*/ 94 h 630"/>
                  <a:gd name="T22" fmla="*/ 62 w 630"/>
                  <a:gd name="T23" fmla="*/ 129 h 630"/>
                  <a:gd name="T24" fmla="*/ 100 w 630"/>
                  <a:gd name="T25" fmla="*/ 215 h 630"/>
                  <a:gd name="T26" fmla="*/ 85 w 630"/>
                  <a:gd name="T27" fmla="*/ 260 h 630"/>
                  <a:gd name="T28" fmla="*/ 0 w 630"/>
                  <a:gd name="T29" fmla="*/ 308 h 630"/>
                  <a:gd name="T30" fmla="*/ 85 w 630"/>
                  <a:gd name="T31" fmla="*/ 370 h 630"/>
                  <a:gd name="T32" fmla="*/ 100 w 630"/>
                  <a:gd name="T33" fmla="*/ 416 h 630"/>
                  <a:gd name="T34" fmla="*/ 64 w 630"/>
                  <a:gd name="T35" fmla="*/ 504 h 630"/>
                  <a:gd name="T36" fmla="*/ 131 w 630"/>
                  <a:gd name="T37" fmla="*/ 570 h 630"/>
                  <a:gd name="T38" fmla="*/ 193 w 630"/>
                  <a:gd name="T39" fmla="*/ 519 h 630"/>
                  <a:gd name="T40" fmla="*/ 248 w 630"/>
                  <a:gd name="T41" fmla="*/ 543 h 630"/>
                  <a:gd name="T42" fmla="*/ 270 w 630"/>
                  <a:gd name="T43" fmla="*/ 628 h 630"/>
                  <a:gd name="T44" fmla="*/ 324 w 630"/>
                  <a:gd name="T45" fmla="*/ 630 h 630"/>
                  <a:gd name="T46" fmla="*/ 372 w 630"/>
                  <a:gd name="T47" fmla="*/ 545 h 630"/>
                  <a:gd name="T48" fmla="*/ 384 w 630"/>
                  <a:gd name="T49" fmla="*/ 541 h 630"/>
                  <a:gd name="T50" fmla="*/ 441 w 630"/>
                  <a:gd name="T51" fmla="*/ 515 h 630"/>
                  <a:gd name="T52" fmla="*/ 505 w 630"/>
                  <a:gd name="T53" fmla="*/ 568 h 630"/>
                  <a:gd name="T54" fmla="*/ 538 w 630"/>
                  <a:gd name="T55" fmla="*/ 538 h 630"/>
                  <a:gd name="T56" fmla="*/ 518 w 630"/>
                  <a:gd name="T57" fmla="*/ 438 h 630"/>
                  <a:gd name="T58" fmla="*/ 530 w 630"/>
                  <a:gd name="T59" fmla="*/ 415 h 630"/>
                  <a:gd name="T60" fmla="*/ 542 w 630"/>
                  <a:gd name="T61" fmla="*/ 383 h 630"/>
                  <a:gd name="T62" fmla="*/ 626 w 630"/>
                  <a:gd name="T63" fmla="*/ 364 h 630"/>
                  <a:gd name="T64" fmla="*/ 630 w 630"/>
                  <a:gd name="T65" fmla="*/ 315 h 630"/>
                  <a:gd name="T66" fmla="*/ 626 w 630"/>
                  <a:gd name="T67" fmla="*/ 268 h 630"/>
                  <a:gd name="T68" fmla="*/ 542 w 630"/>
                  <a:gd name="T69" fmla="*/ 249 h 630"/>
                  <a:gd name="T70" fmla="*/ 517 w 630"/>
                  <a:gd name="T71" fmla="*/ 191 h 630"/>
                  <a:gd name="T72" fmla="*/ 235 w 630"/>
                  <a:gd name="T73" fmla="*/ 233 h 630"/>
                  <a:gd name="T74" fmla="*/ 399 w 630"/>
                  <a:gd name="T75" fmla="*/ 233 h 630"/>
                  <a:gd name="T76" fmla="*/ 399 w 630"/>
                  <a:gd name="T77" fmla="*/ 396 h 630"/>
                  <a:gd name="T78" fmla="*/ 235 w 630"/>
                  <a:gd name="T79" fmla="*/ 396 h 630"/>
                  <a:gd name="T80" fmla="*/ 235 w 630"/>
                  <a:gd name="T81" fmla="*/ 233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0" h="630">
                    <a:moveTo>
                      <a:pt x="569" y="129"/>
                    </a:moveTo>
                    <a:lnTo>
                      <a:pt x="569" y="128"/>
                    </a:lnTo>
                    <a:cubicBezTo>
                      <a:pt x="550" y="103"/>
                      <a:pt x="527" y="81"/>
                      <a:pt x="501" y="61"/>
                    </a:cubicBezTo>
                    <a:lnTo>
                      <a:pt x="501" y="63"/>
                    </a:lnTo>
                    <a:cubicBezTo>
                      <a:pt x="480" y="79"/>
                      <a:pt x="458" y="96"/>
                      <a:pt x="438" y="114"/>
                    </a:cubicBezTo>
                    <a:cubicBezTo>
                      <a:pt x="430" y="109"/>
                      <a:pt x="422" y="105"/>
                      <a:pt x="415" y="101"/>
                    </a:cubicBezTo>
                    <a:cubicBezTo>
                      <a:pt x="405" y="96"/>
                      <a:pt x="395" y="91"/>
                      <a:pt x="383" y="89"/>
                    </a:cubicBezTo>
                    <a:cubicBezTo>
                      <a:pt x="380" y="88"/>
                      <a:pt x="376" y="86"/>
                      <a:pt x="372" y="86"/>
                    </a:cubicBezTo>
                    <a:cubicBezTo>
                      <a:pt x="370" y="59"/>
                      <a:pt x="367" y="31"/>
                      <a:pt x="363" y="4"/>
                    </a:cubicBezTo>
                    <a:cubicBezTo>
                      <a:pt x="351" y="1"/>
                      <a:pt x="338" y="1"/>
                      <a:pt x="325" y="0"/>
                    </a:cubicBezTo>
                    <a:lnTo>
                      <a:pt x="315" y="0"/>
                    </a:lnTo>
                    <a:lnTo>
                      <a:pt x="305" y="0"/>
                    </a:lnTo>
                    <a:cubicBezTo>
                      <a:pt x="292" y="1"/>
                      <a:pt x="281" y="1"/>
                      <a:pt x="270" y="4"/>
                    </a:cubicBezTo>
                    <a:cubicBezTo>
                      <a:pt x="266" y="30"/>
                      <a:pt x="263" y="57"/>
                      <a:pt x="262" y="85"/>
                    </a:cubicBezTo>
                    <a:cubicBezTo>
                      <a:pt x="257" y="85"/>
                      <a:pt x="253" y="86"/>
                      <a:pt x="248" y="88"/>
                    </a:cubicBezTo>
                    <a:cubicBezTo>
                      <a:pt x="247" y="88"/>
                      <a:pt x="246" y="88"/>
                      <a:pt x="245" y="89"/>
                    </a:cubicBezTo>
                    <a:cubicBezTo>
                      <a:pt x="235" y="91"/>
                      <a:pt x="225" y="96"/>
                      <a:pt x="215" y="101"/>
                    </a:cubicBezTo>
                    <a:cubicBezTo>
                      <a:pt x="206" y="105"/>
                      <a:pt x="198" y="109"/>
                      <a:pt x="191" y="114"/>
                    </a:cubicBezTo>
                    <a:cubicBezTo>
                      <a:pt x="170" y="96"/>
                      <a:pt x="150" y="80"/>
                      <a:pt x="128" y="63"/>
                    </a:cubicBezTo>
                    <a:lnTo>
                      <a:pt x="127" y="61"/>
                    </a:lnTo>
                    <a:cubicBezTo>
                      <a:pt x="122" y="65"/>
                      <a:pt x="117" y="69"/>
                      <a:pt x="113" y="73"/>
                    </a:cubicBezTo>
                    <a:cubicBezTo>
                      <a:pt x="105" y="79"/>
                      <a:pt x="97" y="86"/>
                      <a:pt x="91" y="94"/>
                    </a:cubicBezTo>
                    <a:cubicBezTo>
                      <a:pt x="80" y="104"/>
                      <a:pt x="71" y="116"/>
                      <a:pt x="61" y="129"/>
                    </a:cubicBezTo>
                    <a:lnTo>
                      <a:pt x="62" y="129"/>
                    </a:lnTo>
                    <a:cubicBezTo>
                      <a:pt x="78" y="150"/>
                      <a:pt x="96" y="170"/>
                      <a:pt x="114" y="191"/>
                    </a:cubicBezTo>
                    <a:cubicBezTo>
                      <a:pt x="109" y="199"/>
                      <a:pt x="104" y="208"/>
                      <a:pt x="100" y="215"/>
                    </a:cubicBezTo>
                    <a:cubicBezTo>
                      <a:pt x="95" y="225"/>
                      <a:pt x="91" y="236"/>
                      <a:pt x="89" y="246"/>
                    </a:cubicBezTo>
                    <a:cubicBezTo>
                      <a:pt x="86" y="251"/>
                      <a:pt x="85" y="256"/>
                      <a:pt x="85" y="260"/>
                    </a:cubicBezTo>
                    <a:cubicBezTo>
                      <a:pt x="57" y="263"/>
                      <a:pt x="30" y="265"/>
                      <a:pt x="4" y="269"/>
                    </a:cubicBezTo>
                    <a:cubicBezTo>
                      <a:pt x="1" y="281"/>
                      <a:pt x="0" y="294"/>
                      <a:pt x="0" y="308"/>
                    </a:cubicBezTo>
                    <a:cubicBezTo>
                      <a:pt x="0" y="326"/>
                      <a:pt x="1" y="345"/>
                      <a:pt x="5" y="363"/>
                    </a:cubicBezTo>
                    <a:cubicBezTo>
                      <a:pt x="31" y="365"/>
                      <a:pt x="57" y="368"/>
                      <a:pt x="85" y="370"/>
                    </a:cubicBezTo>
                    <a:cubicBezTo>
                      <a:pt x="85" y="375"/>
                      <a:pt x="86" y="380"/>
                      <a:pt x="89" y="384"/>
                    </a:cubicBezTo>
                    <a:cubicBezTo>
                      <a:pt x="91" y="395"/>
                      <a:pt x="95" y="405"/>
                      <a:pt x="100" y="416"/>
                    </a:cubicBezTo>
                    <a:cubicBezTo>
                      <a:pt x="105" y="425"/>
                      <a:pt x="109" y="434"/>
                      <a:pt x="115" y="441"/>
                    </a:cubicBezTo>
                    <a:cubicBezTo>
                      <a:pt x="97" y="463"/>
                      <a:pt x="80" y="483"/>
                      <a:pt x="64" y="504"/>
                    </a:cubicBezTo>
                    <a:cubicBezTo>
                      <a:pt x="82" y="530"/>
                      <a:pt x="105" y="553"/>
                      <a:pt x="131" y="571"/>
                    </a:cubicBezTo>
                    <a:lnTo>
                      <a:pt x="131" y="570"/>
                    </a:lnTo>
                    <a:cubicBezTo>
                      <a:pt x="151" y="554"/>
                      <a:pt x="172" y="536"/>
                      <a:pt x="192" y="519"/>
                    </a:cubicBezTo>
                    <a:lnTo>
                      <a:pt x="193" y="519"/>
                    </a:lnTo>
                    <a:cubicBezTo>
                      <a:pt x="200" y="523"/>
                      <a:pt x="207" y="526"/>
                      <a:pt x="214" y="530"/>
                    </a:cubicBezTo>
                    <a:cubicBezTo>
                      <a:pt x="225" y="535"/>
                      <a:pt x="237" y="540"/>
                      <a:pt x="248" y="543"/>
                    </a:cubicBezTo>
                    <a:cubicBezTo>
                      <a:pt x="253" y="544"/>
                      <a:pt x="257" y="545"/>
                      <a:pt x="261" y="546"/>
                    </a:cubicBezTo>
                    <a:cubicBezTo>
                      <a:pt x="264" y="573"/>
                      <a:pt x="266" y="600"/>
                      <a:pt x="270" y="628"/>
                    </a:cubicBezTo>
                    <a:cubicBezTo>
                      <a:pt x="281" y="629"/>
                      <a:pt x="292" y="630"/>
                      <a:pt x="305" y="630"/>
                    </a:cubicBezTo>
                    <a:lnTo>
                      <a:pt x="324" y="630"/>
                    </a:lnTo>
                    <a:cubicBezTo>
                      <a:pt x="337" y="630"/>
                      <a:pt x="351" y="629"/>
                      <a:pt x="365" y="626"/>
                    </a:cubicBezTo>
                    <a:cubicBezTo>
                      <a:pt x="367" y="600"/>
                      <a:pt x="370" y="573"/>
                      <a:pt x="372" y="545"/>
                    </a:cubicBezTo>
                    <a:lnTo>
                      <a:pt x="384" y="541"/>
                    </a:lnTo>
                    <a:lnTo>
                      <a:pt x="384" y="541"/>
                    </a:lnTo>
                    <a:cubicBezTo>
                      <a:pt x="395" y="539"/>
                      <a:pt x="405" y="535"/>
                      <a:pt x="415" y="530"/>
                    </a:cubicBezTo>
                    <a:cubicBezTo>
                      <a:pt x="424" y="526"/>
                      <a:pt x="432" y="521"/>
                      <a:pt x="441" y="515"/>
                    </a:cubicBezTo>
                    <a:cubicBezTo>
                      <a:pt x="441" y="516"/>
                      <a:pt x="441" y="516"/>
                      <a:pt x="442" y="516"/>
                    </a:cubicBezTo>
                    <a:cubicBezTo>
                      <a:pt x="462" y="534"/>
                      <a:pt x="483" y="551"/>
                      <a:pt x="505" y="568"/>
                    </a:cubicBezTo>
                    <a:cubicBezTo>
                      <a:pt x="508" y="565"/>
                      <a:pt x="512" y="563"/>
                      <a:pt x="517" y="559"/>
                    </a:cubicBezTo>
                    <a:cubicBezTo>
                      <a:pt x="525" y="553"/>
                      <a:pt x="532" y="545"/>
                      <a:pt x="538" y="538"/>
                    </a:cubicBezTo>
                    <a:cubicBezTo>
                      <a:pt x="550" y="526"/>
                      <a:pt x="561" y="514"/>
                      <a:pt x="571" y="500"/>
                    </a:cubicBezTo>
                    <a:cubicBezTo>
                      <a:pt x="553" y="479"/>
                      <a:pt x="536" y="458"/>
                      <a:pt x="518" y="438"/>
                    </a:cubicBezTo>
                    <a:lnTo>
                      <a:pt x="518" y="436"/>
                    </a:lnTo>
                    <a:cubicBezTo>
                      <a:pt x="522" y="430"/>
                      <a:pt x="526" y="422"/>
                      <a:pt x="530" y="415"/>
                    </a:cubicBezTo>
                    <a:cubicBezTo>
                      <a:pt x="533" y="405"/>
                      <a:pt x="538" y="395"/>
                      <a:pt x="541" y="385"/>
                    </a:cubicBezTo>
                    <a:cubicBezTo>
                      <a:pt x="541" y="384"/>
                      <a:pt x="541" y="383"/>
                      <a:pt x="542" y="383"/>
                    </a:cubicBezTo>
                    <a:cubicBezTo>
                      <a:pt x="542" y="378"/>
                      <a:pt x="543" y="374"/>
                      <a:pt x="545" y="371"/>
                    </a:cubicBezTo>
                    <a:cubicBezTo>
                      <a:pt x="572" y="369"/>
                      <a:pt x="600" y="366"/>
                      <a:pt x="626" y="364"/>
                    </a:cubicBezTo>
                    <a:cubicBezTo>
                      <a:pt x="629" y="351"/>
                      <a:pt x="629" y="339"/>
                      <a:pt x="630" y="326"/>
                    </a:cubicBezTo>
                    <a:lnTo>
                      <a:pt x="630" y="315"/>
                    </a:lnTo>
                    <a:lnTo>
                      <a:pt x="630" y="305"/>
                    </a:lnTo>
                    <a:cubicBezTo>
                      <a:pt x="629" y="293"/>
                      <a:pt x="629" y="280"/>
                      <a:pt x="626" y="268"/>
                    </a:cubicBezTo>
                    <a:cubicBezTo>
                      <a:pt x="600" y="265"/>
                      <a:pt x="572" y="263"/>
                      <a:pt x="545" y="260"/>
                    </a:cubicBezTo>
                    <a:cubicBezTo>
                      <a:pt x="544" y="256"/>
                      <a:pt x="542" y="252"/>
                      <a:pt x="542" y="249"/>
                    </a:cubicBezTo>
                    <a:cubicBezTo>
                      <a:pt x="538" y="238"/>
                      <a:pt x="535" y="226"/>
                      <a:pt x="530" y="215"/>
                    </a:cubicBezTo>
                    <a:cubicBezTo>
                      <a:pt x="526" y="207"/>
                      <a:pt x="521" y="199"/>
                      <a:pt x="517" y="191"/>
                    </a:cubicBezTo>
                    <a:cubicBezTo>
                      <a:pt x="534" y="171"/>
                      <a:pt x="551" y="150"/>
                      <a:pt x="569" y="129"/>
                    </a:cubicBezTo>
                    <a:close/>
                    <a:moveTo>
                      <a:pt x="235" y="233"/>
                    </a:moveTo>
                    <a:cubicBezTo>
                      <a:pt x="257" y="209"/>
                      <a:pt x="285" y="198"/>
                      <a:pt x="316" y="199"/>
                    </a:cubicBezTo>
                    <a:cubicBezTo>
                      <a:pt x="349" y="198"/>
                      <a:pt x="375" y="209"/>
                      <a:pt x="399" y="233"/>
                    </a:cubicBezTo>
                    <a:cubicBezTo>
                      <a:pt x="421" y="255"/>
                      <a:pt x="432" y="283"/>
                      <a:pt x="432" y="314"/>
                    </a:cubicBezTo>
                    <a:cubicBezTo>
                      <a:pt x="432" y="346"/>
                      <a:pt x="421" y="373"/>
                      <a:pt x="399" y="396"/>
                    </a:cubicBezTo>
                    <a:cubicBezTo>
                      <a:pt x="375" y="419"/>
                      <a:pt x="349" y="430"/>
                      <a:pt x="316" y="430"/>
                    </a:cubicBezTo>
                    <a:cubicBezTo>
                      <a:pt x="285" y="430"/>
                      <a:pt x="257" y="419"/>
                      <a:pt x="235" y="396"/>
                    </a:cubicBezTo>
                    <a:cubicBezTo>
                      <a:pt x="212" y="373"/>
                      <a:pt x="201" y="346"/>
                      <a:pt x="201" y="314"/>
                    </a:cubicBezTo>
                    <a:cubicBezTo>
                      <a:pt x="201" y="283"/>
                      <a:pt x="212" y="255"/>
                      <a:pt x="235" y="233"/>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chemeClr val="tx1"/>
                    </a:solidFill>
                  </a:ln>
                  <a:solidFill>
                    <a:prstClr val="black"/>
                  </a:solidFill>
                  <a:effectLst/>
                  <a:uLnTx/>
                  <a:uFillTx/>
                  <a:latin typeface="Calibri" panose="020F0502020204030204"/>
                  <a:ea typeface="+mn-ea"/>
                  <a:cs typeface="+mn-cs"/>
                </a:endParaRPr>
              </a:p>
            </p:txBody>
          </p:sp>
          <p:sp>
            <p:nvSpPr>
              <p:cNvPr id="7" name="Gears">
                <a:extLst>
                  <a:ext uri="{FF2B5EF4-FFF2-40B4-BE49-F238E27FC236}">
                    <a16:creationId xmlns:a16="http://schemas.microsoft.com/office/drawing/2014/main" id="{107451A6-3D20-4303-8C62-3821E899514E}"/>
                  </a:ext>
                </a:extLst>
              </p:cNvPr>
              <p:cNvSpPr>
                <a:spLocks noEditPoints="1"/>
              </p:cNvSpPr>
              <p:nvPr>
                <p:custDataLst>
                  <p:tags r:id="rId6"/>
                </p:custDataLst>
              </p:nvPr>
            </p:nvSpPr>
            <p:spPr bwMode="auto">
              <a:xfrm>
                <a:off x="294" y="92"/>
                <a:ext cx="77" cy="78"/>
              </a:xfrm>
              <a:custGeom>
                <a:avLst/>
                <a:gdLst>
                  <a:gd name="T0" fmla="*/ 98 w 197"/>
                  <a:gd name="T1" fmla="*/ 0 h 199"/>
                  <a:gd name="T2" fmla="*/ 28 w 197"/>
                  <a:gd name="T3" fmla="*/ 29 h 199"/>
                  <a:gd name="T4" fmla="*/ 0 w 197"/>
                  <a:gd name="T5" fmla="*/ 99 h 199"/>
                  <a:gd name="T6" fmla="*/ 28 w 197"/>
                  <a:gd name="T7" fmla="*/ 169 h 199"/>
                  <a:gd name="T8" fmla="*/ 28 w 197"/>
                  <a:gd name="T9" fmla="*/ 169 h 199"/>
                  <a:gd name="T10" fmla="*/ 98 w 197"/>
                  <a:gd name="T11" fmla="*/ 199 h 199"/>
                  <a:gd name="T12" fmla="*/ 168 w 197"/>
                  <a:gd name="T13" fmla="*/ 169 h 199"/>
                  <a:gd name="T14" fmla="*/ 168 w 197"/>
                  <a:gd name="T15" fmla="*/ 169 h 199"/>
                  <a:gd name="T16" fmla="*/ 197 w 197"/>
                  <a:gd name="T17" fmla="*/ 99 h 199"/>
                  <a:gd name="T18" fmla="*/ 197 w 197"/>
                  <a:gd name="T19" fmla="*/ 99 h 199"/>
                  <a:gd name="T20" fmla="*/ 168 w 197"/>
                  <a:gd name="T21" fmla="*/ 29 h 199"/>
                  <a:gd name="T22" fmla="*/ 98 w 197"/>
                  <a:gd name="T23" fmla="*/ 0 h 199"/>
                  <a:gd name="T24" fmla="*/ 46 w 197"/>
                  <a:gd name="T25" fmla="*/ 46 h 199"/>
                  <a:gd name="T26" fmla="*/ 98 w 197"/>
                  <a:gd name="T27" fmla="*/ 25 h 199"/>
                  <a:gd name="T28" fmla="*/ 151 w 197"/>
                  <a:gd name="T29" fmla="*/ 46 h 199"/>
                  <a:gd name="T30" fmla="*/ 172 w 197"/>
                  <a:gd name="T31" fmla="*/ 99 h 199"/>
                  <a:gd name="T32" fmla="*/ 172 w 197"/>
                  <a:gd name="T33" fmla="*/ 99 h 199"/>
                  <a:gd name="T34" fmla="*/ 151 w 197"/>
                  <a:gd name="T35" fmla="*/ 151 h 199"/>
                  <a:gd name="T36" fmla="*/ 98 w 197"/>
                  <a:gd name="T37" fmla="*/ 174 h 199"/>
                  <a:gd name="T38" fmla="*/ 46 w 197"/>
                  <a:gd name="T39" fmla="*/ 151 h 199"/>
                  <a:gd name="T40" fmla="*/ 24 w 197"/>
                  <a:gd name="T41" fmla="*/ 99 h 199"/>
                  <a:gd name="T42" fmla="*/ 46 w 197"/>
                  <a:gd name="T43" fmla="*/ 4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7" h="199">
                    <a:moveTo>
                      <a:pt x="98" y="0"/>
                    </a:moveTo>
                    <a:cubicBezTo>
                      <a:pt x="71" y="0"/>
                      <a:pt x="48" y="10"/>
                      <a:pt x="28" y="29"/>
                    </a:cubicBezTo>
                    <a:cubicBezTo>
                      <a:pt x="10" y="49"/>
                      <a:pt x="0" y="71"/>
                      <a:pt x="0" y="99"/>
                    </a:cubicBezTo>
                    <a:cubicBezTo>
                      <a:pt x="0" y="126"/>
                      <a:pt x="10" y="149"/>
                      <a:pt x="28" y="169"/>
                    </a:cubicBezTo>
                    <a:lnTo>
                      <a:pt x="28" y="169"/>
                    </a:lnTo>
                    <a:cubicBezTo>
                      <a:pt x="48" y="189"/>
                      <a:pt x="71" y="199"/>
                      <a:pt x="98" y="199"/>
                    </a:cubicBezTo>
                    <a:cubicBezTo>
                      <a:pt x="126" y="199"/>
                      <a:pt x="148" y="189"/>
                      <a:pt x="168" y="169"/>
                    </a:cubicBezTo>
                    <a:lnTo>
                      <a:pt x="168" y="169"/>
                    </a:lnTo>
                    <a:cubicBezTo>
                      <a:pt x="188" y="149"/>
                      <a:pt x="197" y="126"/>
                      <a:pt x="197" y="99"/>
                    </a:cubicBezTo>
                    <a:lnTo>
                      <a:pt x="197" y="99"/>
                    </a:lnTo>
                    <a:cubicBezTo>
                      <a:pt x="197" y="71"/>
                      <a:pt x="188" y="49"/>
                      <a:pt x="168" y="29"/>
                    </a:cubicBezTo>
                    <a:cubicBezTo>
                      <a:pt x="148" y="10"/>
                      <a:pt x="126" y="0"/>
                      <a:pt x="98" y="0"/>
                    </a:cubicBezTo>
                    <a:close/>
                    <a:moveTo>
                      <a:pt x="46" y="46"/>
                    </a:moveTo>
                    <a:cubicBezTo>
                      <a:pt x="61" y="32"/>
                      <a:pt x="78" y="25"/>
                      <a:pt x="98" y="25"/>
                    </a:cubicBezTo>
                    <a:cubicBezTo>
                      <a:pt x="118" y="25"/>
                      <a:pt x="136" y="33"/>
                      <a:pt x="151" y="46"/>
                    </a:cubicBezTo>
                    <a:cubicBezTo>
                      <a:pt x="166" y="61"/>
                      <a:pt x="172" y="78"/>
                      <a:pt x="172" y="99"/>
                    </a:cubicBezTo>
                    <a:lnTo>
                      <a:pt x="172" y="99"/>
                    </a:lnTo>
                    <a:cubicBezTo>
                      <a:pt x="172" y="120"/>
                      <a:pt x="166" y="138"/>
                      <a:pt x="151" y="151"/>
                    </a:cubicBezTo>
                    <a:cubicBezTo>
                      <a:pt x="136" y="166"/>
                      <a:pt x="118" y="174"/>
                      <a:pt x="98" y="174"/>
                    </a:cubicBezTo>
                    <a:cubicBezTo>
                      <a:pt x="78" y="174"/>
                      <a:pt x="61" y="166"/>
                      <a:pt x="46" y="151"/>
                    </a:cubicBezTo>
                    <a:cubicBezTo>
                      <a:pt x="32" y="137"/>
                      <a:pt x="24" y="120"/>
                      <a:pt x="24" y="99"/>
                    </a:cubicBezTo>
                    <a:cubicBezTo>
                      <a:pt x="25" y="79"/>
                      <a:pt x="32" y="61"/>
                      <a:pt x="46" y="46"/>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chemeClr val="tx1"/>
                    </a:solidFill>
                  </a:ln>
                  <a:solidFill>
                    <a:prstClr val="black"/>
                  </a:solidFill>
                  <a:effectLst/>
                  <a:uLnTx/>
                  <a:uFillTx/>
                  <a:latin typeface="Calibri" panose="020F0502020204030204"/>
                  <a:ea typeface="+mn-ea"/>
                  <a:cs typeface="+mn-cs"/>
                </a:endParaRPr>
              </a:p>
            </p:txBody>
          </p:sp>
          <p:sp>
            <p:nvSpPr>
              <p:cNvPr id="8" name="Gears">
                <a:extLst>
                  <a:ext uri="{FF2B5EF4-FFF2-40B4-BE49-F238E27FC236}">
                    <a16:creationId xmlns:a16="http://schemas.microsoft.com/office/drawing/2014/main" id="{5AD2600E-CC6D-4C09-BC18-B6E2ED4E7D13}"/>
                  </a:ext>
                </a:extLst>
              </p:cNvPr>
              <p:cNvSpPr>
                <a:spLocks noEditPoints="1"/>
              </p:cNvSpPr>
              <p:nvPr>
                <p:custDataLst>
                  <p:tags r:id="rId7"/>
                </p:custDataLst>
              </p:nvPr>
            </p:nvSpPr>
            <p:spPr bwMode="auto">
              <a:xfrm>
                <a:off x="8" y="167"/>
                <a:ext cx="316" cy="318"/>
              </a:xfrm>
              <a:custGeom>
                <a:avLst/>
                <a:gdLst>
                  <a:gd name="T0" fmla="*/ 497 w 810"/>
                  <a:gd name="T1" fmla="*/ 8 h 812"/>
                  <a:gd name="T2" fmla="*/ 416 w 810"/>
                  <a:gd name="T3" fmla="*/ 98 h 812"/>
                  <a:gd name="T4" fmla="*/ 394 w 810"/>
                  <a:gd name="T5" fmla="*/ 98 h 812"/>
                  <a:gd name="T6" fmla="*/ 318 w 810"/>
                  <a:gd name="T7" fmla="*/ 112 h 812"/>
                  <a:gd name="T8" fmla="*/ 255 w 810"/>
                  <a:gd name="T9" fmla="*/ 26 h 812"/>
                  <a:gd name="T10" fmla="*/ 199 w 810"/>
                  <a:gd name="T11" fmla="*/ 53 h 812"/>
                  <a:gd name="T12" fmla="*/ 150 w 810"/>
                  <a:gd name="T13" fmla="*/ 88 h 812"/>
                  <a:gd name="T14" fmla="*/ 170 w 810"/>
                  <a:gd name="T15" fmla="*/ 208 h 812"/>
                  <a:gd name="T16" fmla="*/ 144 w 810"/>
                  <a:gd name="T17" fmla="*/ 243 h 812"/>
                  <a:gd name="T18" fmla="*/ 30 w 810"/>
                  <a:gd name="T19" fmla="*/ 242 h 812"/>
                  <a:gd name="T20" fmla="*/ 0 w 810"/>
                  <a:gd name="T21" fmla="*/ 361 h 812"/>
                  <a:gd name="T22" fmla="*/ 97 w 810"/>
                  <a:gd name="T23" fmla="*/ 416 h 812"/>
                  <a:gd name="T24" fmla="*/ 111 w 810"/>
                  <a:gd name="T25" fmla="*/ 497 h 812"/>
                  <a:gd name="T26" fmla="*/ 87 w 810"/>
                  <a:gd name="T27" fmla="*/ 663 h 812"/>
                  <a:gd name="T28" fmla="*/ 184 w 810"/>
                  <a:gd name="T29" fmla="*/ 620 h 812"/>
                  <a:gd name="T30" fmla="*/ 206 w 810"/>
                  <a:gd name="T31" fmla="*/ 641 h 812"/>
                  <a:gd name="T32" fmla="*/ 260 w 810"/>
                  <a:gd name="T33" fmla="*/ 677 h 812"/>
                  <a:gd name="T34" fmla="*/ 286 w 810"/>
                  <a:gd name="T35" fmla="*/ 796 h 812"/>
                  <a:gd name="T36" fmla="*/ 361 w 810"/>
                  <a:gd name="T37" fmla="*/ 812 h 812"/>
                  <a:gd name="T38" fmla="*/ 414 w 810"/>
                  <a:gd name="T39" fmla="*/ 712 h 812"/>
                  <a:gd name="T40" fmla="*/ 458 w 810"/>
                  <a:gd name="T41" fmla="*/ 708 h 812"/>
                  <a:gd name="T42" fmla="*/ 496 w 810"/>
                  <a:gd name="T43" fmla="*/ 700 h 812"/>
                  <a:gd name="T44" fmla="*/ 575 w 810"/>
                  <a:gd name="T45" fmla="*/ 777 h 812"/>
                  <a:gd name="T46" fmla="*/ 663 w 810"/>
                  <a:gd name="T47" fmla="*/ 722 h 812"/>
                  <a:gd name="T48" fmla="*/ 619 w 810"/>
                  <a:gd name="T49" fmla="*/ 626 h 812"/>
                  <a:gd name="T50" fmla="*/ 665 w 810"/>
                  <a:gd name="T51" fmla="*/ 568 h 812"/>
                  <a:gd name="T52" fmla="*/ 674 w 810"/>
                  <a:gd name="T53" fmla="*/ 552 h 812"/>
                  <a:gd name="T54" fmla="*/ 795 w 810"/>
                  <a:gd name="T55" fmla="*/ 523 h 812"/>
                  <a:gd name="T56" fmla="*/ 803 w 810"/>
                  <a:gd name="T57" fmla="*/ 498 h 812"/>
                  <a:gd name="T58" fmla="*/ 711 w 810"/>
                  <a:gd name="T59" fmla="*/ 413 h 812"/>
                  <a:gd name="T60" fmla="*/ 706 w 810"/>
                  <a:gd name="T61" fmla="*/ 352 h 812"/>
                  <a:gd name="T62" fmla="*/ 784 w 810"/>
                  <a:gd name="T63" fmla="*/ 256 h 812"/>
                  <a:gd name="T64" fmla="*/ 723 w 810"/>
                  <a:gd name="T65" fmla="*/ 151 h 812"/>
                  <a:gd name="T66" fmla="*/ 628 w 810"/>
                  <a:gd name="T67" fmla="*/ 195 h 812"/>
                  <a:gd name="T68" fmla="*/ 566 w 810"/>
                  <a:gd name="T69" fmla="*/ 146 h 812"/>
                  <a:gd name="T70" fmla="*/ 570 w 810"/>
                  <a:gd name="T71" fmla="*/ 32 h 812"/>
                  <a:gd name="T72" fmla="*/ 510 w 810"/>
                  <a:gd name="T73" fmla="*/ 12 h 812"/>
                  <a:gd name="T74" fmla="*/ 263 w 810"/>
                  <a:gd name="T75" fmla="*/ 366 h 812"/>
                  <a:gd name="T76" fmla="*/ 445 w 810"/>
                  <a:gd name="T77" fmla="*/ 260 h 812"/>
                  <a:gd name="T78" fmla="*/ 551 w 810"/>
                  <a:gd name="T79" fmla="*/ 443 h 812"/>
                  <a:gd name="T80" fmla="*/ 369 w 810"/>
                  <a:gd name="T81" fmla="*/ 548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0" h="812">
                    <a:moveTo>
                      <a:pt x="510" y="12"/>
                    </a:moveTo>
                    <a:cubicBezTo>
                      <a:pt x="505" y="10"/>
                      <a:pt x="501" y="8"/>
                      <a:pt x="497" y="8"/>
                    </a:cubicBezTo>
                    <a:cubicBezTo>
                      <a:pt x="482" y="5"/>
                      <a:pt x="468" y="2"/>
                      <a:pt x="452" y="0"/>
                    </a:cubicBezTo>
                    <a:cubicBezTo>
                      <a:pt x="439" y="33"/>
                      <a:pt x="427" y="66"/>
                      <a:pt x="416" y="98"/>
                    </a:cubicBezTo>
                    <a:lnTo>
                      <a:pt x="399" y="98"/>
                    </a:lnTo>
                    <a:lnTo>
                      <a:pt x="394" y="98"/>
                    </a:lnTo>
                    <a:cubicBezTo>
                      <a:pt x="379" y="100"/>
                      <a:pt x="365" y="101"/>
                      <a:pt x="351" y="103"/>
                    </a:cubicBezTo>
                    <a:cubicBezTo>
                      <a:pt x="340" y="105"/>
                      <a:pt x="329" y="108"/>
                      <a:pt x="318" y="112"/>
                    </a:cubicBezTo>
                    <a:cubicBezTo>
                      <a:pt x="298" y="83"/>
                      <a:pt x="276" y="55"/>
                      <a:pt x="256" y="27"/>
                    </a:cubicBezTo>
                    <a:lnTo>
                      <a:pt x="255" y="26"/>
                    </a:lnTo>
                    <a:cubicBezTo>
                      <a:pt x="247" y="28"/>
                      <a:pt x="240" y="31"/>
                      <a:pt x="234" y="35"/>
                    </a:cubicBezTo>
                    <a:cubicBezTo>
                      <a:pt x="221" y="40"/>
                      <a:pt x="210" y="46"/>
                      <a:pt x="199" y="53"/>
                    </a:cubicBezTo>
                    <a:cubicBezTo>
                      <a:pt x="181" y="62"/>
                      <a:pt x="165" y="73"/>
                      <a:pt x="150" y="87"/>
                    </a:cubicBezTo>
                    <a:lnTo>
                      <a:pt x="150" y="88"/>
                    </a:lnTo>
                    <a:cubicBezTo>
                      <a:pt x="165" y="120"/>
                      <a:pt x="179" y="151"/>
                      <a:pt x="194" y="182"/>
                    </a:cubicBezTo>
                    <a:cubicBezTo>
                      <a:pt x="185" y="191"/>
                      <a:pt x="177" y="198"/>
                      <a:pt x="170" y="208"/>
                    </a:cubicBezTo>
                    <a:cubicBezTo>
                      <a:pt x="160" y="218"/>
                      <a:pt x="151" y="231"/>
                      <a:pt x="144" y="243"/>
                    </a:cubicBezTo>
                    <a:lnTo>
                      <a:pt x="144" y="243"/>
                    </a:lnTo>
                    <a:cubicBezTo>
                      <a:pt x="140" y="248"/>
                      <a:pt x="137" y="253"/>
                      <a:pt x="135" y="260"/>
                    </a:cubicBezTo>
                    <a:cubicBezTo>
                      <a:pt x="100" y="253"/>
                      <a:pt x="65" y="247"/>
                      <a:pt x="30" y="242"/>
                    </a:cubicBezTo>
                    <a:cubicBezTo>
                      <a:pt x="24" y="257"/>
                      <a:pt x="17" y="272"/>
                      <a:pt x="12" y="288"/>
                    </a:cubicBezTo>
                    <a:cubicBezTo>
                      <a:pt x="7" y="313"/>
                      <a:pt x="2" y="337"/>
                      <a:pt x="0" y="361"/>
                    </a:cubicBezTo>
                    <a:lnTo>
                      <a:pt x="97" y="398"/>
                    </a:lnTo>
                    <a:lnTo>
                      <a:pt x="97" y="416"/>
                    </a:lnTo>
                    <a:cubicBezTo>
                      <a:pt x="97" y="430"/>
                      <a:pt x="99" y="445"/>
                      <a:pt x="102" y="460"/>
                    </a:cubicBezTo>
                    <a:cubicBezTo>
                      <a:pt x="104" y="472"/>
                      <a:pt x="108" y="485"/>
                      <a:pt x="111" y="497"/>
                    </a:cubicBezTo>
                    <a:cubicBezTo>
                      <a:pt x="82" y="517"/>
                      <a:pt x="55" y="537"/>
                      <a:pt x="26" y="558"/>
                    </a:cubicBezTo>
                    <a:cubicBezTo>
                      <a:pt x="41" y="596"/>
                      <a:pt x="62" y="631"/>
                      <a:pt x="87" y="663"/>
                    </a:cubicBezTo>
                    <a:lnTo>
                      <a:pt x="89" y="663"/>
                    </a:lnTo>
                    <a:cubicBezTo>
                      <a:pt x="120" y="648"/>
                      <a:pt x="151" y="635"/>
                      <a:pt x="184" y="620"/>
                    </a:cubicBezTo>
                    <a:lnTo>
                      <a:pt x="184" y="620"/>
                    </a:lnTo>
                    <a:cubicBezTo>
                      <a:pt x="191" y="627"/>
                      <a:pt x="199" y="633"/>
                      <a:pt x="206" y="641"/>
                    </a:cubicBezTo>
                    <a:cubicBezTo>
                      <a:pt x="217" y="651"/>
                      <a:pt x="231" y="660"/>
                      <a:pt x="246" y="668"/>
                    </a:cubicBezTo>
                    <a:cubicBezTo>
                      <a:pt x="250" y="671"/>
                      <a:pt x="255" y="673"/>
                      <a:pt x="260" y="677"/>
                    </a:cubicBezTo>
                    <a:cubicBezTo>
                      <a:pt x="254" y="711"/>
                      <a:pt x="249" y="746"/>
                      <a:pt x="244" y="781"/>
                    </a:cubicBezTo>
                    <a:cubicBezTo>
                      <a:pt x="258" y="787"/>
                      <a:pt x="271" y="792"/>
                      <a:pt x="286" y="796"/>
                    </a:cubicBezTo>
                    <a:cubicBezTo>
                      <a:pt x="290" y="797"/>
                      <a:pt x="297" y="800"/>
                      <a:pt x="310" y="802"/>
                    </a:cubicBezTo>
                    <a:cubicBezTo>
                      <a:pt x="327" y="807"/>
                      <a:pt x="345" y="810"/>
                      <a:pt x="361" y="812"/>
                    </a:cubicBezTo>
                    <a:cubicBezTo>
                      <a:pt x="375" y="778"/>
                      <a:pt x="388" y="746"/>
                      <a:pt x="399" y="712"/>
                    </a:cubicBezTo>
                    <a:lnTo>
                      <a:pt x="414" y="712"/>
                    </a:lnTo>
                    <a:lnTo>
                      <a:pt x="415" y="712"/>
                    </a:lnTo>
                    <a:cubicBezTo>
                      <a:pt x="430" y="712"/>
                      <a:pt x="444" y="711"/>
                      <a:pt x="458" y="708"/>
                    </a:cubicBezTo>
                    <a:cubicBezTo>
                      <a:pt x="470" y="706"/>
                      <a:pt x="483" y="702"/>
                      <a:pt x="495" y="698"/>
                    </a:cubicBezTo>
                    <a:cubicBezTo>
                      <a:pt x="495" y="698"/>
                      <a:pt x="495" y="700"/>
                      <a:pt x="496" y="700"/>
                    </a:cubicBezTo>
                    <a:cubicBezTo>
                      <a:pt x="516" y="728"/>
                      <a:pt x="538" y="757"/>
                      <a:pt x="558" y="786"/>
                    </a:cubicBezTo>
                    <a:cubicBezTo>
                      <a:pt x="564" y="782"/>
                      <a:pt x="570" y="780"/>
                      <a:pt x="575" y="777"/>
                    </a:cubicBezTo>
                    <a:cubicBezTo>
                      <a:pt x="588" y="772"/>
                      <a:pt x="599" y="766"/>
                      <a:pt x="610" y="760"/>
                    </a:cubicBezTo>
                    <a:cubicBezTo>
                      <a:pt x="629" y="748"/>
                      <a:pt x="646" y="736"/>
                      <a:pt x="663" y="722"/>
                    </a:cubicBezTo>
                    <a:cubicBezTo>
                      <a:pt x="649" y="690"/>
                      <a:pt x="634" y="658"/>
                      <a:pt x="619" y="626"/>
                    </a:cubicBezTo>
                    <a:lnTo>
                      <a:pt x="619" y="626"/>
                    </a:lnTo>
                    <a:cubicBezTo>
                      <a:pt x="626" y="618"/>
                      <a:pt x="633" y="611"/>
                      <a:pt x="640" y="603"/>
                    </a:cubicBezTo>
                    <a:cubicBezTo>
                      <a:pt x="649" y="592"/>
                      <a:pt x="658" y="580"/>
                      <a:pt x="665" y="568"/>
                    </a:cubicBezTo>
                    <a:cubicBezTo>
                      <a:pt x="665" y="567"/>
                      <a:pt x="666" y="566"/>
                      <a:pt x="666" y="565"/>
                    </a:cubicBezTo>
                    <a:cubicBezTo>
                      <a:pt x="669" y="561"/>
                      <a:pt x="671" y="556"/>
                      <a:pt x="674" y="552"/>
                    </a:cubicBezTo>
                    <a:cubicBezTo>
                      <a:pt x="709" y="558"/>
                      <a:pt x="744" y="563"/>
                      <a:pt x="779" y="570"/>
                    </a:cubicBezTo>
                    <a:cubicBezTo>
                      <a:pt x="785" y="555"/>
                      <a:pt x="790" y="540"/>
                      <a:pt x="795" y="523"/>
                    </a:cubicBezTo>
                    <a:cubicBezTo>
                      <a:pt x="796" y="520"/>
                      <a:pt x="798" y="516"/>
                      <a:pt x="799" y="511"/>
                    </a:cubicBezTo>
                    <a:cubicBezTo>
                      <a:pt x="800" y="507"/>
                      <a:pt x="800" y="503"/>
                      <a:pt x="803" y="498"/>
                    </a:cubicBezTo>
                    <a:cubicBezTo>
                      <a:pt x="805" y="482"/>
                      <a:pt x="809" y="466"/>
                      <a:pt x="810" y="451"/>
                    </a:cubicBezTo>
                    <a:cubicBezTo>
                      <a:pt x="778" y="437"/>
                      <a:pt x="744" y="426"/>
                      <a:pt x="711" y="413"/>
                    </a:cubicBezTo>
                    <a:lnTo>
                      <a:pt x="711" y="398"/>
                    </a:lnTo>
                    <a:cubicBezTo>
                      <a:pt x="711" y="383"/>
                      <a:pt x="710" y="367"/>
                      <a:pt x="706" y="352"/>
                    </a:cubicBezTo>
                    <a:cubicBezTo>
                      <a:pt x="705" y="341"/>
                      <a:pt x="701" y="330"/>
                      <a:pt x="699" y="318"/>
                    </a:cubicBezTo>
                    <a:cubicBezTo>
                      <a:pt x="728" y="298"/>
                      <a:pt x="756" y="277"/>
                      <a:pt x="784" y="256"/>
                    </a:cubicBezTo>
                    <a:lnTo>
                      <a:pt x="785" y="256"/>
                    </a:lnTo>
                    <a:cubicBezTo>
                      <a:pt x="770" y="218"/>
                      <a:pt x="750" y="183"/>
                      <a:pt x="723" y="151"/>
                    </a:cubicBezTo>
                    <a:lnTo>
                      <a:pt x="723" y="151"/>
                    </a:lnTo>
                    <a:cubicBezTo>
                      <a:pt x="690" y="165"/>
                      <a:pt x="659" y="180"/>
                      <a:pt x="628" y="195"/>
                    </a:cubicBezTo>
                    <a:cubicBezTo>
                      <a:pt x="619" y="186"/>
                      <a:pt x="610" y="177"/>
                      <a:pt x="601" y="170"/>
                    </a:cubicBezTo>
                    <a:cubicBezTo>
                      <a:pt x="590" y="161"/>
                      <a:pt x="579" y="152"/>
                      <a:pt x="566" y="146"/>
                    </a:cubicBezTo>
                    <a:cubicBezTo>
                      <a:pt x="563" y="142"/>
                      <a:pt x="557" y="140"/>
                      <a:pt x="554" y="137"/>
                    </a:cubicBezTo>
                    <a:cubicBezTo>
                      <a:pt x="559" y="102"/>
                      <a:pt x="565" y="67"/>
                      <a:pt x="570" y="32"/>
                    </a:cubicBezTo>
                    <a:cubicBezTo>
                      <a:pt x="555" y="26"/>
                      <a:pt x="539" y="20"/>
                      <a:pt x="523" y="15"/>
                    </a:cubicBezTo>
                    <a:cubicBezTo>
                      <a:pt x="519" y="13"/>
                      <a:pt x="514" y="12"/>
                      <a:pt x="510" y="12"/>
                    </a:cubicBezTo>
                    <a:close/>
                    <a:moveTo>
                      <a:pt x="278" y="480"/>
                    </a:moveTo>
                    <a:cubicBezTo>
                      <a:pt x="256" y="443"/>
                      <a:pt x="251" y="406"/>
                      <a:pt x="263" y="366"/>
                    </a:cubicBezTo>
                    <a:cubicBezTo>
                      <a:pt x="273" y="326"/>
                      <a:pt x="296" y="296"/>
                      <a:pt x="333" y="275"/>
                    </a:cubicBezTo>
                    <a:cubicBezTo>
                      <a:pt x="368" y="255"/>
                      <a:pt x="406" y="250"/>
                      <a:pt x="445" y="260"/>
                    </a:cubicBezTo>
                    <a:cubicBezTo>
                      <a:pt x="485" y="271"/>
                      <a:pt x="516" y="293"/>
                      <a:pt x="536" y="330"/>
                    </a:cubicBezTo>
                    <a:cubicBezTo>
                      <a:pt x="558" y="366"/>
                      <a:pt x="563" y="403"/>
                      <a:pt x="551" y="443"/>
                    </a:cubicBezTo>
                    <a:cubicBezTo>
                      <a:pt x="541" y="483"/>
                      <a:pt x="518" y="513"/>
                      <a:pt x="483" y="533"/>
                    </a:cubicBezTo>
                    <a:cubicBezTo>
                      <a:pt x="445" y="555"/>
                      <a:pt x="408" y="559"/>
                      <a:pt x="369" y="548"/>
                    </a:cubicBezTo>
                    <a:cubicBezTo>
                      <a:pt x="329" y="538"/>
                      <a:pt x="298" y="515"/>
                      <a:pt x="278" y="480"/>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chemeClr val="tx1"/>
                    </a:solidFill>
                  </a:ln>
                  <a:solidFill>
                    <a:prstClr val="black"/>
                  </a:solidFill>
                  <a:effectLst/>
                  <a:uLnTx/>
                  <a:uFillTx/>
                  <a:latin typeface="Calibri" panose="020F0502020204030204"/>
                  <a:ea typeface="+mn-ea"/>
                  <a:cs typeface="+mn-cs"/>
                </a:endParaRPr>
              </a:p>
            </p:txBody>
          </p:sp>
          <p:sp>
            <p:nvSpPr>
              <p:cNvPr id="9" name="Gears">
                <a:extLst>
                  <a:ext uri="{FF2B5EF4-FFF2-40B4-BE49-F238E27FC236}">
                    <a16:creationId xmlns:a16="http://schemas.microsoft.com/office/drawing/2014/main" id="{5BE56364-9581-4E3F-B202-21708C5960E7}"/>
                  </a:ext>
                </a:extLst>
              </p:cNvPr>
              <p:cNvSpPr>
                <a:spLocks noEditPoints="1"/>
              </p:cNvSpPr>
              <p:nvPr>
                <p:custDataLst>
                  <p:tags r:id="rId8"/>
                </p:custDataLst>
              </p:nvPr>
            </p:nvSpPr>
            <p:spPr bwMode="auto">
              <a:xfrm>
                <a:off x="115" y="273"/>
                <a:ext cx="104" cy="104"/>
              </a:xfrm>
              <a:custGeom>
                <a:avLst/>
                <a:gdLst>
                  <a:gd name="T0" fmla="*/ 10 w 266"/>
                  <a:gd name="T1" fmla="*/ 101 h 266"/>
                  <a:gd name="T2" fmla="*/ 21 w 266"/>
                  <a:gd name="T3" fmla="*/ 197 h 266"/>
                  <a:gd name="T4" fmla="*/ 23 w 266"/>
                  <a:gd name="T5" fmla="*/ 197 h 266"/>
                  <a:gd name="T6" fmla="*/ 100 w 266"/>
                  <a:gd name="T7" fmla="*/ 257 h 266"/>
                  <a:gd name="T8" fmla="*/ 197 w 266"/>
                  <a:gd name="T9" fmla="*/ 245 h 266"/>
                  <a:gd name="T10" fmla="*/ 197 w 266"/>
                  <a:gd name="T11" fmla="*/ 245 h 266"/>
                  <a:gd name="T12" fmla="*/ 257 w 266"/>
                  <a:gd name="T13" fmla="*/ 167 h 266"/>
                  <a:gd name="T14" fmla="*/ 257 w 266"/>
                  <a:gd name="T15" fmla="*/ 166 h 266"/>
                  <a:gd name="T16" fmla="*/ 244 w 266"/>
                  <a:gd name="T17" fmla="*/ 70 h 266"/>
                  <a:gd name="T18" fmla="*/ 166 w 266"/>
                  <a:gd name="T19" fmla="*/ 10 h 266"/>
                  <a:gd name="T20" fmla="*/ 69 w 266"/>
                  <a:gd name="T21" fmla="*/ 22 h 266"/>
                  <a:gd name="T22" fmla="*/ 10 w 266"/>
                  <a:gd name="T23" fmla="*/ 101 h 266"/>
                  <a:gd name="T24" fmla="*/ 85 w 266"/>
                  <a:gd name="T25" fmla="*/ 51 h 266"/>
                  <a:gd name="T26" fmla="*/ 158 w 266"/>
                  <a:gd name="T27" fmla="*/ 41 h 266"/>
                  <a:gd name="T28" fmla="*/ 216 w 266"/>
                  <a:gd name="T29" fmla="*/ 86 h 266"/>
                  <a:gd name="T30" fmla="*/ 226 w 266"/>
                  <a:gd name="T31" fmla="*/ 159 h 266"/>
                  <a:gd name="T32" fmla="*/ 181 w 266"/>
                  <a:gd name="T33" fmla="*/ 216 h 266"/>
                  <a:gd name="T34" fmla="*/ 181 w 266"/>
                  <a:gd name="T35" fmla="*/ 217 h 266"/>
                  <a:gd name="T36" fmla="*/ 109 w 266"/>
                  <a:gd name="T37" fmla="*/ 226 h 266"/>
                  <a:gd name="T38" fmla="*/ 50 w 266"/>
                  <a:gd name="T39" fmla="*/ 181 h 266"/>
                  <a:gd name="T40" fmla="*/ 40 w 266"/>
                  <a:gd name="T41" fmla="*/ 109 h 266"/>
                  <a:gd name="T42" fmla="*/ 85 w 266"/>
                  <a:gd name="T43" fmla="*/ 5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6" h="266">
                    <a:moveTo>
                      <a:pt x="10" y="101"/>
                    </a:moveTo>
                    <a:cubicBezTo>
                      <a:pt x="0" y="135"/>
                      <a:pt x="4" y="167"/>
                      <a:pt x="21" y="197"/>
                    </a:cubicBezTo>
                    <a:lnTo>
                      <a:pt x="23" y="197"/>
                    </a:lnTo>
                    <a:cubicBezTo>
                      <a:pt x="40" y="228"/>
                      <a:pt x="66" y="247"/>
                      <a:pt x="100" y="257"/>
                    </a:cubicBezTo>
                    <a:cubicBezTo>
                      <a:pt x="134" y="266"/>
                      <a:pt x="166" y="262"/>
                      <a:pt x="197" y="245"/>
                    </a:cubicBezTo>
                    <a:lnTo>
                      <a:pt x="197" y="245"/>
                    </a:lnTo>
                    <a:cubicBezTo>
                      <a:pt x="229" y="226"/>
                      <a:pt x="248" y="201"/>
                      <a:pt x="257" y="167"/>
                    </a:cubicBezTo>
                    <a:lnTo>
                      <a:pt x="257" y="166"/>
                    </a:lnTo>
                    <a:cubicBezTo>
                      <a:pt x="266" y="132"/>
                      <a:pt x="261" y="100"/>
                      <a:pt x="244" y="70"/>
                    </a:cubicBezTo>
                    <a:cubicBezTo>
                      <a:pt x="226" y="38"/>
                      <a:pt x="200" y="18"/>
                      <a:pt x="166" y="10"/>
                    </a:cubicBezTo>
                    <a:cubicBezTo>
                      <a:pt x="132" y="0"/>
                      <a:pt x="99" y="5"/>
                      <a:pt x="69" y="22"/>
                    </a:cubicBezTo>
                    <a:cubicBezTo>
                      <a:pt x="38" y="40"/>
                      <a:pt x="19" y="66"/>
                      <a:pt x="10" y="101"/>
                    </a:cubicBezTo>
                    <a:close/>
                    <a:moveTo>
                      <a:pt x="85" y="51"/>
                    </a:moveTo>
                    <a:cubicBezTo>
                      <a:pt x="109" y="37"/>
                      <a:pt x="133" y="34"/>
                      <a:pt x="158" y="41"/>
                    </a:cubicBezTo>
                    <a:cubicBezTo>
                      <a:pt x="183" y="47"/>
                      <a:pt x="203" y="62"/>
                      <a:pt x="216" y="86"/>
                    </a:cubicBezTo>
                    <a:cubicBezTo>
                      <a:pt x="230" y="109"/>
                      <a:pt x="233" y="134"/>
                      <a:pt x="226" y="159"/>
                    </a:cubicBezTo>
                    <a:cubicBezTo>
                      <a:pt x="219" y="184"/>
                      <a:pt x="204" y="203"/>
                      <a:pt x="181" y="216"/>
                    </a:cubicBezTo>
                    <a:lnTo>
                      <a:pt x="181" y="217"/>
                    </a:lnTo>
                    <a:cubicBezTo>
                      <a:pt x="158" y="230"/>
                      <a:pt x="134" y="233"/>
                      <a:pt x="109" y="226"/>
                    </a:cubicBezTo>
                    <a:cubicBezTo>
                      <a:pt x="83" y="220"/>
                      <a:pt x="64" y="205"/>
                      <a:pt x="50" y="181"/>
                    </a:cubicBezTo>
                    <a:cubicBezTo>
                      <a:pt x="38" y="159"/>
                      <a:pt x="34" y="135"/>
                      <a:pt x="40" y="109"/>
                    </a:cubicBezTo>
                    <a:cubicBezTo>
                      <a:pt x="48" y="84"/>
                      <a:pt x="63" y="65"/>
                      <a:pt x="85" y="51"/>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chemeClr val="tx1"/>
                    </a:solidFill>
                  </a:ln>
                  <a:solidFill>
                    <a:prstClr val="black"/>
                  </a:solidFill>
                  <a:effectLst/>
                  <a:uLnTx/>
                  <a:uFillTx/>
                  <a:latin typeface="Calibri" panose="020F0502020204030204"/>
                  <a:ea typeface="+mn-ea"/>
                  <a:cs typeface="+mn-cs"/>
                </a:endParaRPr>
              </a:p>
            </p:txBody>
          </p:sp>
        </p:grpSp>
      </p:grpSp>
      <p:sp>
        <p:nvSpPr>
          <p:cNvPr id="21" name="Title 1">
            <a:extLst>
              <a:ext uri="{FF2B5EF4-FFF2-40B4-BE49-F238E27FC236}">
                <a16:creationId xmlns:a16="http://schemas.microsoft.com/office/drawing/2014/main" id="{41C4D9DA-1CB1-444F-9329-3D5CA74663CA}"/>
              </a:ext>
            </a:extLst>
          </p:cNvPr>
          <p:cNvSpPr txBox="1">
            <a:spLocks/>
          </p:cNvSpPr>
          <p:nvPr/>
        </p:nvSpPr>
        <p:spPr>
          <a:xfrm>
            <a:off x="11178600" y="2638745"/>
            <a:ext cx="9144000" cy="138840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SG" sz="9600" dirty="0">
                <a:solidFill>
                  <a:schemeClr val="bg1"/>
                </a:solidFill>
                <a:latin typeface="Bebas Neue" panose="020B0606020202050201" pitchFamily="34" charset="0"/>
              </a:rPr>
              <a:t>3 MACHINES, 1 SYSTEM </a:t>
            </a:r>
          </a:p>
        </p:txBody>
      </p:sp>
      <p:grpSp>
        <p:nvGrpSpPr>
          <p:cNvPr id="13" name="Group 12">
            <a:extLst>
              <a:ext uri="{FF2B5EF4-FFF2-40B4-BE49-F238E27FC236}">
                <a16:creationId xmlns:a16="http://schemas.microsoft.com/office/drawing/2014/main" id="{4C38FEAF-EC0E-4887-93CC-0F8923F28175}"/>
              </a:ext>
            </a:extLst>
          </p:cNvPr>
          <p:cNvGrpSpPr/>
          <p:nvPr/>
        </p:nvGrpSpPr>
        <p:grpSpPr>
          <a:xfrm>
            <a:off x="1364880" y="2481881"/>
            <a:ext cx="2680440" cy="2515016"/>
            <a:chOff x="1364880" y="2481881"/>
            <a:chExt cx="2680440" cy="2515016"/>
          </a:xfrm>
        </p:grpSpPr>
        <p:grpSp>
          <p:nvGrpSpPr>
            <p:cNvPr id="16" name="Silos" descr="{&quot;Key&quot;:&quot;POWER_USER_SHAPE_ICON&quot;,&quot;Value&quot;:&quot;POWER_USER_SHAPE_ICON_STYLE_1&quot;}">
              <a:extLst>
                <a:ext uri="{FF2B5EF4-FFF2-40B4-BE49-F238E27FC236}">
                  <a16:creationId xmlns:a16="http://schemas.microsoft.com/office/drawing/2014/main" id="{A660F0E6-8D66-426C-BA24-5F5946774B8E}"/>
                </a:ext>
              </a:extLst>
            </p:cNvPr>
            <p:cNvGrpSpPr>
              <a:grpSpLocks noChangeAspect="1"/>
            </p:cNvGrpSpPr>
            <p:nvPr>
              <p:custDataLst>
                <p:tags r:id="rId3"/>
              </p:custDataLst>
            </p:nvPr>
          </p:nvGrpSpPr>
          <p:grpSpPr>
            <a:xfrm>
              <a:off x="1364880" y="2481881"/>
              <a:ext cx="2680440" cy="1845232"/>
              <a:chOff x="3770313" y="2092325"/>
              <a:chExt cx="657225" cy="452438"/>
            </a:xfrm>
            <a:solidFill>
              <a:schemeClr val="bg1">
                <a:lumMod val="65000"/>
              </a:schemeClr>
            </a:solidFill>
          </p:grpSpPr>
          <p:sp>
            <p:nvSpPr>
              <p:cNvPr id="17" name="Freeform 1352">
                <a:extLst>
                  <a:ext uri="{FF2B5EF4-FFF2-40B4-BE49-F238E27FC236}">
                    <a16:creationId xmlns:a16="http://schemas.microsoft.com/office/drawing/2014/main" id="{8465209F-D17E-4906-8388-7D2DBC86A9FA}"/>
                  </a:ext>
                </a:extLst>
              </p:cNvPr>
              <p:cNvSpPr>
                <a:spLocks noEditPoints="1"/>
              </p:cNvSpPr>
              <p:nvPr/>
            </p:nvSpPr>
            <p:spPr bwMode="auto">
              <a:xfrm>
                <a:off x="3778251" y="2130425"/>
                <a:ext cx="298450" cy="414338"/>
              </a:xfrm>
              <a:custGeom>
                <a:avLst/>
                <a:gdLst>
                  <a:gd name="T0" fmla="*/ 283 w 4233"/>
                  <a:gd name="T1" fmla="*/ 5558 h 5841"/>
                  <a:gd name="T2" fmla="*/ 3950 w 4233"/>
                  <a:gd name="T3" fmla="*/ 5558 h 5841"/>
                  <a:gd name="T4" fmla="*/ 3950 w 4233"/>
                  <a:gd name="T5" fmla="*/ 1738 h 5841"/>
                  <a:gd name="T6" fmla="*/ 3897 w 4233"/>
                  <a:gd name="T7" fmla="*/ 1711 h 5841"/>
                  <a:gd name="T8" fmla="*/ 2223 w 4233"/>
                  <a:gd name="T9" fmla="*/ 331 h 5841"/>
                  <a:gd name="T10" fmla="*/ 293 w 4233"/>
                  <a:gd name="T11" fmla="*/ 1714 h 5841"/>
                  <a:gd name="T12" fmla="*/ 283 w 4233"/>
                  <a:gd name="T13" fmla="*/ 1721 h 5841"/>
                  <a:gd name="T14" fmla="*/ 283 w 4233"/>
                  <a:gd name="T15" fmla="*/ 5558 h 5841"/>
                  <a:gd name="T16" fmla="*/ 4091 w 4233"/>
                  <a:gd name="T17" fmla="*/ 5841 h 5841"/>
                  <a:gd name="T18" fmla="*/ 141 w 4233"/>
                  <a:gd name="T19" fmla="*/ 5841 h 5841"/>
                  <a:gd name="T20" fmla="*/ 0 w 4233"/>
                  <a:gd name="T21" fmla="*/ 5699 h 5841"/>
                  <a:gd name="T22" fmla="*/ 0 w 4233"/>
                  <a:gd name="T23" fmla="*/ 1599 h 5841"/>
                  <a:gd name="T24" fmla="*/ 141 w 4233"/>
                  <a:gd name="T25" fmla="*/ 1457 h 5841"/>
                  <a:gd name="T26" fmla="*/ 165 w 4233"/>
                  <a:gd name="T27" fmla="*/ 1457 h 5841"/>
                  <a:gd name="T28" fmla="*/ 2146 w 4233"/>
                  <a:gd name="T29" fmla="*/ 38 h 5841"/>
                  <a:gd name="T30" fmla="*/ 2319 w 4233"/>
                  <a:gd name="T31" fmla="*/ 43 h 5841"/>
                  <a:gd name="T32" fmla="*/ 4033 w 4233"/>
                  <a:gd name="T33" fmla="*/ 1456 h 5841"/>
                  <a:gd name="T34" fmla="*/ 4081 w 4233"/>
                  <a:gd name="T35" fmla="*/ 1452 h 5841"/>
                  <a:gd name="T36" fmla="*/ 4188 w 4233"/>
                  <a:gd name="T37" fmla="*/ 1489 h 5841"/>
                  <a:gd name="T38" fmla="*/ 4233 w 4233"/>
                  <a:gd name="T39" fmla="*/ 1593 h 5841"/>
                  <a:gd name="T40" fmla="*/ 4233 w 4233"/>
                  <a:gd name="T41" fmla="*/ 5699 h 5841"/>
                  <a:gd name="T42" fmla="*/ 4091 w 4233"/>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3" h="5841">
                    <a:moveTo>
                      <a:pt x="283" y="5558"/>
                    </a:moveTo>
                    <a:lnTo>
                      <a:pt x="3950" y="5558"/>
                    </a:lnTo>
                    <a:lnTo>
                      <a:pt x="3950" y="1738"/>
                    </a:lnTo>
                    <a:cubicBezTo>
                      <a:pt x="3931" y="1732"/>
                      <a:pt x="3913" y="1723"/>
                      <a:pt x="3897" y="1711"/>
                    </a:cubicBezTo>
                    <a:lnTo>
                      <a:pt x="2223" y="331"/>
                    </a:lnTo>
                    <a:lnTo>
                      <a:pt x="293" y="1714"/>
                    </a:lnTo>
                    <a:cubicBezTo>
                      <a:pt x="290" y="1716"/>
                      <a:pt x="286" y="1719"/>
                      <a:pt x="283" y="1721"/>
                    </a:cubicBezTo>
                    <a:lnTo>
                      <a:pt x="283" y="5558"/>
                    </a:lnTo>
                    <a:close/>
                    <a:moveTo>
                      <a:pt x="4091" y="5841"/>
                    </a:moveTo>
                    <a:lnTo>
                      <a:pt x="141" y="5841"/>
                    </a:lnTo>
                    <a:cubicBezTo>
                      <a:pt x="63" y="5841"/>
                      <a:pt x="0" y="5777"/>
                      <a:pt x="0" y="5699"/>
                    </a:cubicBezTo>
                    <a:lnTo>
                      <a:pt x="0" y="1599"/>
                    </a:lnTo>
                    <a:cubicBezTo>
                      <a:pt x="0" y="1521"/>
                      <a:pt x="63" y="1457"/>
                      <a:pt x="141" y="1457"/>
                    </a:cubicBezTo>
                    <a:lnTo>
                      <a:pt x="165" y="1457"/>
                    </a:lnTo>
                    <a:lnTo>
                      <a:pt x="2146" y="38"/>
                    </a:lnTo>
                    <a:cubicBezTo>
                      <a:pt x="2198" y="0"/>
                      <a:pt x="2269" y="2"/>
                      <a:pt x="2319" y="43"/>
                    </a:cubicBezTo>
                    <a:lnTo>
                      <a:pt x="4033" y="1456"/>
                    </a:lnTo>
                    <a:lnTo>
                      <a:pt x="4081" y="1452"/>
                    </a:lnTo>
                    <a:cubicBezTo>
                      <a:pt x="4120" y="1449"/>
                      <a:pt x="4159" y="1463"/>
                      <a:pt x="4188" y="1489"/>
                    </a:cubicBezTo>
                    <a:cubicBezTo>
                      <a:pt x="4217" y="1516"/>
                      <a:pt x="4233" y="1554"/>
                      <a:pt x="4233" y="1593"/>
                    </a:cubicBezTo>
                    <a:lnTo>
                      <a:pt x="4233" y="5699"/>
                    </a:lnTo>
                    <a:cubicBezTo>
                      <a:pt x="4233" y="5777"/>
                      <a:pt x="4170" y="5841"/>
                      <a:pt x="4091"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1353">
                <a:extLst>
                  <a:ext uri="{FF2B5EF4-FFF2-40B4-BE49-F238E27FC236}">
                    <a16:creationId xmlns:a16="http://schemas.microsoft.com/office/drawing/2014/main" id="{B3947A32-4347-46E3-BD27-7065C0C189CF}"/>
                  </a:ext>
                </a:extLst>
              </p:cNvPr>
              <p:cNvSpPr>
                <a:spLocks/>
              </p:cNvSpPr>
              <p:nvPr/>
            </p:nvSpPr>
            <p:spPr bwMode="auto">
              <a:xfrm>
                <a:off x="37703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354">
                <a:extLst>
                  <a:ext uri="{FF2B5EF4-FFF2-40B4-BE49-F238E27FC236}">
                    <a16:creationId xmlns:a16="http://schemas.microsoft.com/office/drawing/2014/main" id="{E891ADF3-F4E2-443D-8B47-B3075C801F97}"/>
                  </a:ext>
                </a:extLst>
              </p:cNvPr>
              <p:cNvSpPr>
                <a:spLocks noEditPoints="1"/>
              </p:cNvSpPr>
              <p:nvPr/>
            </p:nvSpPr>
            <p:spPr bwMode="auto">
              <a:xfrm>
                <a:off x="4121151" y="2130425"/>
                <a:ext cx="300038" cy="414338"/>
              </a:xfrm>
              <a:custGeom>
                <a:avLst/>
                <a:gdLst>
                  <a:gd name="T0" fmla="*/ 284 w 4234"/>
                  <a:gd name="T1" fmla="*/ 5557 h 5841"/>
                  <a:gd name="T2" fmla="*/ 3950 w 4234"/>
                  <a:gd name="T3" fmla="*/ 5557 h 5841"/>
                  <a:gd name="T4" fmla="*/ 3950 w 4234"/>
                  <a:gd name="T5" fmla="*/ 1739 h 5841"/>
                  <a:gd name="T6" fmla="*/ 3894 w 4234"/>
                  <a:gd name="T7" fmla="*/ 1711 h 5841"/>
                  <a:gd name="T8" fmla="*/ 2216 w 4234"/>
                  <a:gd name="T9" fmla="*/ 331 h 5841"/>
                  <a:gd name="T10" fmla="*/ 286 w 4234"/>
                  <a:gd name="T11" fmla="*/ 1715 h 5841"/>
                  <a:gd name="T12" fmla="*/ 284 w 4234"/>
                  <a:gd name="T13" fmla="*/ 1716 h 5841"/>
                  <a:gd name="T14" fmla="*/ 284 w 4234"/>
                  <a:gd name="T15" fmla="*/ 5557 h 5841"/>
                  <a:gd name="T16" fmla="*/ 4092 w 4234"/>
                  <a:gd name="T17" fmla="*/ 5841 h 5841"/>
                  <a:gd name="T18" fmla="*/ 142 w 4234"/>
                  <a:gd name="T19" fmla="*/ 5841 h 5841"/>
                  <a:gd name="T20" fmla="*/ 0 w 4234"/>
                  <a:gd name="T21" fmla="*/ 5700 h 5841"/>
                  <a:gd name="T22" fmla="*/ 0 w 4234"/>
                  <a:gd name="T23" fmla="*/ 1599 h 5841"/>
                  <a:gd name="T24" fmla="*/ 142 w 4234"/>
                  <a:gd name="T25" fmla="*/ 1458 h 5841"/>
                  <a:gd name="T26" fmla="*/ 158 w 4234"/>
                  <a:gd name="T27" fmla="*/ 1458 h 5841"/>
                  <a:gd name="T28" fmla="*/ 2139 w 4234"/>
                  <a:gd name="T29" fmla="*/ 37 h 5841"/>
                  <a:gd name="T30" fmla="*/ 2312 w 4234"/>
                  <a:gd name="T31" fmla="*/ 43 h 5841"/>
                  <a:gd name="T32" fmla="*/ 4030 w 4234"/>
                  <a:gd name="T33" fmla="*/ 1456 h 5841"/>
                  <a:gd name="T34" fmla="*/ 4082 w 4234"/>
                  <a:gd name="T35" fmla="*/ 1452 h 5841"/>
                  <a:gd name="T36" fmla="*/ 4189 w 4234"/>
                  <a:gd name="T37" fmla="*/ 1490 h 5841"/>
                  <a:gd name="T38" fmla="*/ 4234 w 4234"/>
                  <a:gd name="T39" fmla="*/ 1594 h 5841"/>
                  <a:gd name="T40" fmla="*/ 4234 w 4234"/>
                  <a:gd name="T41" fmla="*/ 5700 h 5841"/>
                  <a:gd name="T42" fmla="*/ 4092 w 4234"/>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4" h="5841">
                    <a:moveTo>
                      <a:pt x="284" y="5557"/>
                    </a:moveTo>
                    <a:lnTo>
                      <a:pt x="3950" y="5557"/>
                    </a:lnTo>
                    <a:lnTo>
                      <a:pt x="3950" y="1739"/>
                    </a:lnTo>
                    <a:cubicBezTo>
                      <a:pt x="3930" y="1734"/>
                      <a:pt x="3911" y="1724"/>
                      <a:pt x="3894" y="1711"/>
                    </a:cubicBezTo>
                    <a:lnTo>
                      <a:pt x="2216" y="331"/>
                    </a:lnTo>
                    <a:lnTo>
                      <a:pt x="286" y="1715"/>
                    </a:lnTo>
                    <a:cubicBezTo>
                      <a:pt x="285" y="1715"/>
                      <a:pt x="285" y="1715"/>
                      <a:pt x="284" y="1716"/>
                    </a:cubicBezTo>
                    <a:lnTo>
                      <a:pt x="284" y="5557"/>
                    </a:lnTo>
                    <a:close/>
                    <a:moveTo>
                      <a:pt x="4092" y="5841"/>
                    </a:moveTo>
                    <a:lnTo>
                      <a:pt x="142" y="5841"/>
                    </a:lnTo>
                    <a:cubicBezTo>
                      <a:pt x="64" y="5841"/>
                      <a:pt x="0" y="5778"/>
                      <a:pt x="0" y="5700"/>
                    </a:cubicBezTo>
                    <a:lnTo>
                      <a:pt x="0" y="1599"/>
                    </a:lnTo>
                    <a:cubicBezTo>
                      <a:pt x="0" y="1521"/>
                      <a:pt x="64" y="1458"/>
                      <a:pt x="142" y="1458"/>
                    </a:cubicBezTo>
                    <a:lnTo>
                      <a:pt x="158" y="1458"/>
                    </a:lnTo>
                    <a:lnTo>
                      <a:pt x="2139" y="37"/>
                    </a:lnTo>
                    <a:cubicBezTo>
                      <a:pt x="2192" y="0"/>
                      <a:pt x="2262" y="3"/>
                      <a:pt x="2312" y="43"/>
                    </a:cubicBezTo>
                    <a:lnTo>
                      <a:pt x="4030" y="1456"/>
                    </a:lnTo>
                    <a:lnTo>
                      <a:pt x="4082" y="1452"/>
                    </a:lnTo>
                    <a:cubicBezTo>
                      <a:pt x="4121" y="1449"/>
                      <a:pt x="4160" y="1463"/>
                      <a:pt x="4189" y="1490"/>
                    </a:cubicBezTo>
                    <a:cubicBezTo>
                      <a:pt x="4217" y="1517"/>
                      <a:pt x="4234" y="1554"/>
                      <a:pt x="4234" y="1594"/>
                    </a:cubicBezTo>
                    <a:lnTo>
                      <a:pt x="4234" y="5700"/>
                    </a:lnTo>
                    <a:cubicBezTo>
                      <a:pt x="4234" y="5778"/>
                      <a:pt x="4170" y="5841"/>
                      <a:pt x="4092"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1355">
                <a:extLst>
                  <a:ext uri="{FF2B5EF4-FFF2-40B4-BE49-F238E27FC236}">
                    <a16:creationId xmlns:a16="http://schemas.microsoft.com/office/drawing/2014/main" id="{6D86136E-D11A-4610-AABA-D339EFD392C7}"/>
                  </a:ext>
                </a:extLst>
              </p:cNvPr>
              <p:cNvSpPr>
                <a:spLocks/>
              </p:cNvSpPr>
              <p:nvPr/>
            </p:nvSpPr>
            <p:spPr bwMode="auto">
              <a:xfrm>
                <a:off x="41132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1356">
                <a:extLst>
                  <a:ext uri="{FF2B5EF4-FFF2-40B4-BE49-F238E27FC236}">
                    <a16:creationId xmlns:a16="http://schemas.microsoft.com/office/drawing/2014/main" id="{85922CBA-A45A-4755-A90C-B883ADDF4C55}"/>
                  </a:ext>
                </a:extLst>
              </p:cNvPr>
              <p:cNvSpPr>
                <a:spLocks/>
              </p:cNvSpPr>
              <p:nvPr/>
            </p:nvSpPr>
            <p:spPr bwMode="auto">
              <a:xfrm>
                <a:off x="3924301" y="2093913"/>
                <a:ext cx="20638" cy="57150"/>
              </a:xfrm>
              <a:custGeom>
                <a:avLst/>
                <a:gdLst>
                  <a:gd name="T0" fmla="*/ 142 w 283"/>
                  <a:gd name="T1" fmla="*/ 800 h 800"/>
                  <a:gd name="T2" fmla="*/ 0 w 283"/>
                  <a:gd name="T3" fmla="*/ 658 h 800"/>
                  <a:gd name="T4" fmla="*/ 0 w 283"/>
                  <a:gd name="T5" fmla="*/ 141 h 800"/>
                  <a:gd name="T6" fmla="*/ 142 w 283"/>
                  <a:gd name="T7" fmla="*/ 0 h 800"/>
                  <a:gd name="T8" fmla="*/ 283 w 283"/>
                  <a:gd name="T9" fmla="*/ 141 h 800"/>
                  <a:gd name="T10" fmla="*/ 283 w 283"/>
                  <a:gd name="T11" fmla="*/ 658 h 800"/>
                  <a:gd name="T12" fmla="*/ 142 w 283"/>
                  <a:gd name="T13" fmla="*/ 800 h 800"/>
                </a:gdLst>
                <a:ahLst/>
                <a:cxnLst>
                  <a:cxn ang="0">
                    <a:pos x="T0" y="T1"/>
                  </a:cxn>
                  <a:cxn ang="0">
                    <a:pos x="T2" y="T3"/>
                  </a:cxn>
                  <a:cxn ang="0">
                    <a:pos x="T4" y="T5"/>
                  </a:cxn>
                  <a:cxn ang="0">
                    <a:pos x="T6" y="T7"/>
                  </a:cxn>
                  <a:cxn ang="0">
                    <a:pos x="T8" y="T9"/>
                  </a:cxn>
                  <a:cxn ang="0">
                    <a:pos x="T10" y="T11"/>
                  </a:cxn>
                  <a:cxn ang="0">
                    <a:pos x="T12" y="T13"/>
                  </a:cxn>
                </a:cxnLst>
                <a:rect l="0" t="0" r="r" b="b"/>
                <a:pathLst>
                  <a:path w="283" h="800">
                    <a:moveTo>
                      <a:pt x="142" y="800"/>
                    </a:moveTo>
                    <a:cubicBezTo>
                      <a:pt x="64" y="800"/>
                      <a:pt x="0" y="736"/>
                      <a:pt x="0" y="658"/>
                    </a:cubicBezTo>
                    <a:lnTo>
                      <a:pt x="0" y="141"/>
                    </a:lnTo>
                    <a:cubicBezTo>
                      <a:pt x="0" y="63"/>
                      <a:pt x="64" y="0"/>
                      <a:pt x="142" y="0"/>
                    </a:cubicBezTo>
                    <a:cubicBezTo>
                      <a:pt x="220" y="0"/>
                      <a:pt x="283" y="63"/>
                      <a:pt x="283" y="141"/>
                    </a:cubicBezTo>
                    <a:lnTo>
                      <a:pt x="283" y="658"/>
                    </a:lnTo>
                    <a:cubicBezTo>
                      <a:pt x="283" y="736"/>
                      <a:pt x="220" y="800"/>
                      <a:pt x="142" y="8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1357">
                <a:extLst>
                  <a:ext uri="{FF2B5EF4-FFF2-40B4-BE49-F238E27FC236}">
                    <a16:creationId xmlns:a16="http://schemas.microsoft.com/office/drawing/2014/main" id="{82B6E3EB-E620-409B-A83B-1A935582FF66}"/>
                  </a:ext>
                </a:extLst>
              </p:cNvPr>
              <p:cNvSpPr>
                <a:spLocks/>
              </p:cNvSpPr>
              <p:nvPr/>
            </p:nvSpPr>
            <p:spPr bwMode="auto">
              <a:xfrm>
                <a:off x="4267201" y="2098675"/>
                <a:ext cx="20638" cy="52388"/>
              </a:xfrm>
              <a:custGeom>
                <a:avLst/>
                <a:gdLst>
                  <a:gd name="T0" fmla="*/ 142 w 283"/>
                  <a:gd name="T1" fmla="*/ 734 h 734"/>
                  <a:gd name="T2" fmla="*/ 0 w 283"/>
                  <a:gd name="T3" fmla="*/ 592 h 734"/>
                  <a:gd name="T4" fmla="*/ 0 w 283"/>
                  <a:gd name="T5" fmla="*/ 142 h 734"/>
                  <a:gd name="T6" fmla="*/ 142 w 283"/>
                  <a:gd name="T7" fmla="*/ 0 h 734"/>
                  <a:gd name="T8" fmla="*/ 283 w 283"/>
                  <a:gd name="T9" fmla="*/ 142 h 734"/>
                  <a:gd name="T10" fmla="*/ 283 w 283"/>
                  <a:gd name="T11" fmla="*/ 592 h 734"/>
                  <a:gd name="T12" fmla="*/ 142 w 283"/>
                  <a:gd name="T13" fmla="*/ 734 h 734"/>
                </a:gdLst>
                <a:ahLst/>
                <a:cxnLst>
                  <a:cxn ang="0">
                    <a:pos x="T0" y="T1"/>
                  </a:cxn>
                  <a:cxn ang="0">
                    <a:pos x="T2" y="T3"/>
                  </a:cxn>
                  <a:cxn ang="0">
                    <a:pos x="T4" y="T5"/>
                  </a:cxn>
                  <a:cxn ang="0">
                    <a:pos x="T6" y="T7"/>
                  </a:cxn>
                  <a:cxn ang="0">
                    <a:pos x="T8" y="T9"/>
                  </a:cxn>
                  <a:cxn ang="0">
                    <a:pos x="T10" y="T11"/>
                  </a:cxn>
                  <a:cxn ang="0">
                    <a:pos x="T12" y="T13"/>
                  </a:cxn>
                </a:cxnLst>
                <a:rect l="0" t="0" r="r" b="b"/>
                <a:pathLst>
                  <a:path w="283" h="734">
                    <a:moveTo>
                      <a:pt x="142" y="734"/>
                    </a:moveTo>
                    <a:cubicBezTo>
                      <a:pt x="64" y="734"/>
                      <a:pt x="0" y="670"/>
                      <a:pt x="0" y="592"/>
                    </a:cubicBezTo>
                    <a:lnTo>
                      <a:pt x="0" y="142"/>
                    </a:lnTo>
                    <a:cubicBezTo>
                      <a:pt x="0" y="64"/>
                      <a:pt x="64" y="0"/>
                      <a:pt x="142" y="0"/>
                    </a:cubicBezTo>
                    <a:cubicBezTo>
                      <a:pt x="220" y="0"/>
                      <a:pt x="283" y="64"/>
                      <a:pt x="283" y="142"/>
                    </a:cubicBezTo>
                    <a:lnTo>
                      <a:pt x="283" y="592"/>
                    </a:lnTo>
                    <a:cubicBezTo>
                      <a:pt x="283" y="670"/>
                      <a:pt x="220" y="734"/>
                      <a:pt x="142" y="7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1358">
                <a:extLst>
                  <a:ext uri="{FF2B5EF4-FFF2-40B4-BE49-F238E27FC236}">
                    <a16:creationId xmlns:a16="http://schemas.microsoft.com/office/drawing/2014/main" id="{40A22314-935E-44D8-B7B8-8FD169FF1B11}"/>
                  </a:ext>
                </a:extLst>
              </p:cNvPr>
              <p:cNvSpPr>
                <a:spLocks/>
              </p:cNvSpPr>
              <p:nvPr/>
            </p:nvSpPr>
            <p:spPr bwMode="auto">
              <a:xfrm>
                <a:off x="3924301" y="2092325"/>
                <a:ext cx="363538" cy="20638"/>
              </a:xfrm>
              <a:custGeom>
                <a:avLst/>
                <a:gdLst>
                  <a:gd name="T0" fmla="*/ 4991 w 5133"/>
                  <a:gd name="T1" fmla="*/ 283 h 283"/>
                  <a:gd name="T2" fmla="*/ 141 w 5133"/>
                  <a:gd name="T3" fmla="*/ 283 h 283"/>
                  <a:gd name="T4" fmla="*/ 0 w 5133"/>
                  <a:gd name="T5" fmla="*/ 141 h 283"/>
                  <a:gd name="T6" fmla="*/ 141 w 5133"/>
                  <a:gd name="T7" fmla="*/ 0 h 283"/>
                  <a:gd name="T8" fmla="*/ 4991 w 5133"/>
                  <a:gd name="T9" fmla="*/ 0 h 283"/>
                  <a:gd name="T10" fmla="*/ 5133 w 5133"/>
                  <a:gd name="T11" fmla="*/ 141 h 283"/>
                  <a:gd name="T12" fmla="*/ 4991 w 5133"/>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5133" h="283">
                    <a:moveTo>
                      <a:pt x="4991" y="283"/>
                    </a:moveTo>
                    <a:lnTo>
                      <a:pt x="141" y="283"/>
                    </a:lnTo>
                    <a:cubicBezTo>
                      <a:pt x="63" y="283"/>
                      <a:pt x="0" y="220"/>
                      <a:pt x="0" y="141"/>
                    </a:cubicBezTo>
                    <a:cubicBezTo>
                      <a:pt x="0" y="63"/>
                      <a:pt x="63" y="0"/>
                      <a:pt x="141" y="0"/>
                    </a:cubicBezTo>
                    <a:lnTo>
                      <a:pt x="4991" y="0"/>
                    </a:lnTo>
                    <a:cubicBezTo>
                      <a:pt x="5070" y="0"/>
                      <a:pt x="5133" y="63"/>
                      <a:pt x="5133" y="141"/>
                    </a:cubicBezTo>
                    <a:cubicBezTo>
                      <a:pt x="5133" y="220"/>
                      <a:pt x="5070" y="283"/>
                      <a:pt x="4991"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1359">
                <a:extLst>
                  <a:ext uri="{FF2B5EF4-FFF2-40B4-BE49-F238E27FC236}">
                    <a16:creationId xmlns:a16="http://schemas.microsoft.com/office/drawing/2014/main" id="{F1294902-46A0-419F-BBD2-5F1CBAC0354D}"/>
                  </a:ext>
                </a:extLst>
              </p:cNvPr>
              <p:cNvSpPr>
                <a:spLocks/>
              </p:cNvSpPr>
              <p:nvPr/>
            </p:nvSpPr>
            <p:spPr bwMode="auto">
              <a:xfrm>
                <a:off x="3829051"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1360">
                <a:extLst>
                  <a:ext uri="{FF2B5EF4-FFF2-40B4-BE49-F238E27FC236}">
                    <a16:creationId xmlns:a16="http://schemas.microsoft.com/office/drawing/2014/main" id="{8B560E4A-45D2-4A32-89F2-0DB6860F0435}"/>
                  </a:ext>
                </a:extLst>
              </p:cNvPr>
              <p:cNvSpPr>
                <a:spLocks/>
              </p:cNvSpPr>
              <p:nvPr/>
            </p:nvSpPr>
            <p:spPr bwMode="auto">
              <a:xfrm>
                <a:off x="3884613"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1361">
                <a:extLst>
                  <a:ext uri="{FF2B5EF4-FFF2-40B4-BE49-F238E27FC236}">
                    <a16:creationId xmlns:a16="http://schemas.microsoft.com/office/drawing/2014/main" id="{95BB8ED4-B7A8-4AF3-B67E-74F065B28266}"/>
                  </a:ext>
                </a:extLst>
              </p:cNvPr>
              <p:cNvSpPr>
                <a:spLocks/>
              </p:cNvSpPr>
              <p:nvPr/>
            </p:nvSpPr>
            <p:spPr bwMode="auto">
              <a:xfrm>
                <a:off x="3937001"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1362">
                <a:extLst>
                  <a:ext uri="{FF2B5EF4-FFF2-40B4-BE49-F238E27FC236}">
                    <a16:creationId xmlns:a16="http://schemas.microsoft.com/office/drawing/2014/main" id="{07F00127-D4E5-4411-B337-8ADA2397AD02}"/>
                  </a:ext>
                </a:extLst>
              </p:cNvPr>
              <p:cNvSpPr>
                <a:spLocks/>
              </p:cNvSpPr>
              <p:nvPr/>
            </p:nvSpPr>
            <p:spPr bwMode="auto">
              <a:xfrm>
                <a:off x="3997326"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1363">
                <a:extLst>
                  <a:ext uri="{FF2B5EF4-FFF2-40B4-BE49-F238E27FC236}">
                    <a16:creationId xmlns:a16="http://schemas.microsoft.com/office/drawing/2014/main" id="{753217C3-AEE9-47FC-9B7F-10B922A585E4}"/>
                  </a:ext>
                </a:extLst>
              </p:cNvPr>
              <p:cNvSpPr>
                <a:spLocks/>
              </p:cNvSpPr>
              <p:nvPr/>
            </p:nvSpPr>
            <p:spPr bwMode="auto">
              <a:xfrm>
                <a:off x="4178301"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1364">
                <a:extLst>
                  <a:ext uri="{FF2B5EF4-FFF2-40B4-BE49-F238E27FC236}">
                    <a16:creationId xmlns:a16="http://schemas.microsoft.com/office/drawing/2014/main" id="{3436D22C-232C-41B2-9B40-68E34A37AB17}"/>
                  </a:ext>
                </a:extLst>
              </p:cNvPr>
              <p:cNvSpPr>
                <a:spLocks/>
              </p:cNvSpPr>
              <p:nvPr/>
            </p:nvSpPr>
            <p:spPr bwMode="auto">
              <a:xfrm>
                <a:off x="4233863"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1365">
                <a:extLst>
                  <a:ext uri="{FF2B5EF4-FFF2-40B4-BE49-F238E27FC236}">
                    <a16:creationId xmlns:a16="http://schemas.microsoft.com/office/drawing/2014/main" id="{3F7C0D44-1F1E-4629-AD0D-22E30E7D6AAE}"/>
                  </a:ext>
                </a:extLst>
              </p:cNvPr>
              <p:cNvSpPr>
                <a:spLocks/>
              </p:cNvSpPr>
              <p:nvPr/>
            </p:nvSpPr>
            <p:spPr bwMode="auto">
              <a:xfrm>
                <a:off x="4286251" y="2293938"/>
                <a:ext cx="19050"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1366">
                <a:extLst>
                  <a:ext uri="{FF2B5EF4-FFF2-40B4-BE49-F238E27FC236}">
                    <a16:creationId xmlns:a16="http://schemas.microsoft.com/office/drawing/2014/main" id="{7038D836-C8E8-4595-9789-0B5EB8DF3F1E}"/>
                  </a:ext>
                </a:extLst>
              </p:cNvPr>
              <p:cNvSpPr>
                <a:spLocks/>
              </p:cNvSpPr>
              <p:nvPr/>
            </p:nvSpPr>
            <p:spPr bwMode="auto">
              <a:xfrm>
                <a:off x="4344988"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 name="TextBox 11">
              <a:extLst>
                <a:ext uri="{FF2B5EF4-FFF2-40B4-BE49-F238E27FC236}">
                  <a16:creationId xmlns:a16="http://schemas.microsoft.com/office/drawing/2014/main" id="{81960B73-AF41-4791-803C-E6D0D3BAB48F}"/>
                </a:ext>
              </a:extLst>
            </p:cNvPr>
            <p:cNvSpPr txBox="1"/>
            <p:nvPr/>
          </p:nvSpPr>
          <p:spPr>
            <a:xfrm>
              <a:off x="1397255" y="4473677"/>
              <a:ext cx="2545480" cy="523220"/>
            </a:xfrm>
            <a:prstGeom prst="rect">
              <a:avLst/>
            </a:prstGeom>
            <a:noFill/>
          </p:spPr>
          <p:txBody>
            <a:bodyPr wrap="square" rtlCol="0">
              <a:spAutoFit/>
            </a:bodyPr>
            <a:lstStyle/>
            <a:p>
              <a:pPr algn="ctr"/>
              <a:r>
                <a:rPr lang="en-SG" sz="2800" dirty="0">
                  <a:solidFill>
                    <a:schemeClr val="bg1"/>
                  </a:solidFill>
                  <a:latin typeface="Quicksand Book" panose="02070303000000060000" pitchFamily="18" charset="0"/>
                </a:rPr>
                <a:t>PHOBO</a:t>
              </a:r>
            </a:p>
          </p:txBody>
        </p:sp>
      </p:grpSp>
      <p:grpSp>
        <p:nvGrpSpPr>
          <p:cNvPr id="68" name="Group 67">
            <a:extLst>
              <a:ext uri="{FF2B5EF4-FFF2-40B4-BE49-F238E27FC236}">
                <a16:creationId xmlns:a16="http://schemas.microsoft.com/office/drawing/2014/main" id="{FF5144F2-F57E-49A9-9FE8-B0FBF0747325}"/>
              </a:ext>
            </a:extLst>
          </p:cNvPr>
          <p:cNvGrpSpPr/>
          <p:nvPr/>
        </p:nvGrpSpPr>
        <p:grpSpPr>
          <a:xfrm>
            <a:off x="4765924" y="2478018"/>
            <a:ext cx="2680440" cy="2514742"/>
            <a:chOff x="4765924" y="2478018"/>
            <a:chExt cx="2680440" cy="2514742"/>
          </a:xfrm>
        </p:grpSpPr>
        <p:grpSp>
          <p:nvGrpSpPr>
            <p:cNvPr id="33" name="Silos" descr="{&quot;Key&quot;:&quot;POWER_USER_SHAPE_ICON&quot;,&quot;Value&quot;:&quot;POWER_USER_SHAPE_ICON_STYLE_1&quot;}">
              <a:extLst>
                <a:ext uri="{FF2B5EF4-FFF2-40B4-BE49-F238E27FC236}">
                  <a16:creationId xmlns:a16="http://schemas.microsoft.com/office/drawing/2014/main" id="{763BCC65-7D4C-4676-AE8D-D4EBFFCFABD8}"/>
                </a:ext>
              </a:extLst>
            </p:cNvPr>
            <p:cNvGrpSpPr>
              <a:grpSpLocks noChangeAspect="1"/>
            </p:cNvGrpSpPr>
            <p:nvPr>
              <p:custDataLst>
                <p:tags r:id="rId2"/>
              </p:custDataLst>
            </p:nvPr>
          </p:nvGrpSpPr>
          <p:grpSpPr>
            <a:xfrm>
              <a:off x="4765924" y="2478018"/>
              <a:ext cx="2680440" cy="1845232"/>
              <a:chOff x="3770313" y="2092325"/>
              <a:chExt cx="657225" cy="452438"/>
            </a:xfrm>
            <a:solidFill>
              <a:schemeClr val="bg1">
                <a:lumMod val="75000"/>
              </a:schemeClr>
            </a:solidFill>
          </p:grpSpPr>
          <p:sp>
            <p:nvSpPr>
              <p:cNvPr id="34" name="Freeform 1352">
                <a:extLst>
                  <a:ext uri="{FF2B5EF4-FFF2-40B4-BE49-F238E27FC236}">
                    <a16:creationId xmlns:a16="http://schemas.microsoft.com/office/drawing/2014/main" id="{130062A4-218C-41A6-89C6-87734ED25E9A}"/>
                  </a:ext>
                </a:extLst>
              </p:cNvPr>
              <p:cNvSpPr>
                <a:spLocks noEditPoints="1"/>
              </p:cNvSpPr>
              <p:nvPr/>
            </p:nvSpPr>
            <p:spPr bwMode="auto">
              <a:xfrm>
                <a:off x="3778251" y="2130425"/>
                <a:ext cx="298450" cy="414338"/>
              </a:xfrm>
              <a:custGeom>
                <a:avLst/>
                <a:gdLst>
                  <a:gd name="T0" fmla="*/ 283 w 4233"/>
                  <a:gd name="T1" fmla="*/ 5558 h 5841"/>
                  <a:gd name="T2" fmla="*/ 3950 w 4233"/>
                  <a:gd name="T3" fmla="*/ 5558 h 5841"/>
                  <a:gd name="T4" fmla="*/ 3950 w 4233"/>
                  <a:gd name="T5" fmla="*/ 1738 h 5841"/>
                  <a:gd name="T6" fmla="*/ 3897 w 4233"/>
                  <a:gd name="T7" fmla="*/ 1711 h 5841"/>
                  <a:gd name="T8" fmla="*/ 2223 w 4233"/>
                  <a:gd name="T9" fmla="*/ 331 h 5841"/>
                  <a:gd name="T10" fmla="*/ 293 w 4233"/>
                  <a:gd name="T11" fmla="*/ 1714 h 5841"/>
                  <a:gd name="T12" fmla="*/ 283 w 4233"/>
                  <a:gd name="T13" fmla="*/ 1721 h 5841"/>
                  <a:gd name="T14" fmla="*/ 283 w 4233"/>
                  <a:gd name="T15" fmla="*/ 5558 h 5841"/>
                  <a:gd name="T16" fmla="*/ 4091 w 4233"/>
                  <a:gd name="T17" fmla="*/ 5841 h 5841"/>
                  <a:gd name="T18" fmla="*/ 141 w 4233"/>
                  <a:gd name="T19" fmla="*/ 5841 h 5841"/>
                  <a:gd name="T20" fmla="*/ 0 w 4233"/>
                  <a:gd name="T21" fmla="*/ 5699 h 5841"/>
                  <a:gd name="T22" fmla="*/ 0 w 4233"/>
                  <a:gd name="T23" fmla="*/ 1599 h 5841"/>
                  <a:gd name="T24" fmla="*/ 141 w 4233"/>
                  <a:gd name="T25" fmla="*/ 1457 h 5841"/>
                  <a:gd name="T26" fmla="*/ 165 w 4233"/>
                  <a:gd name="T27" fmla="*/ 1457 h 5841"/>
                  <a:gd name="T28" fmla="*/ 2146 w 4233"/>
                  <a:gd name="T29" fmla="*/ 38 h 5841"/>
                  <a:gd name="T30" fmla="*/ 2319 w 4233"/>
                  <a:gd name="T31" fmla="*/ 43 h 5841"/>
                  <a:gd name="T32" fmla="*/ 4033 w 4233"/>
                  <a:gd name="T33" fmla="*/ 1456 h 5841"/>
                  <a:gd name="T34" fmla="*/ 4081 w 4233"/>
                  <a:gd name="T35" fmla="*/ 1452 h 5841"/>
                  <a:gd name="T36" fmla="*/ 4188 w 4233"/>
                  <a:gd name="T37" fmla="*/ 1489 h 5841"/>
                  <a:gd name="T38" fmla="*/ 4233 w 4233"/>
                  <a:gd name="T39" fmla="*/ 1593 h 5841"/>
                  <a:gd name="T40" fmla="*/ 4233 w 4233"/>
                  <a:gd name="T41" fmla="*/ 5699 h 5841"/>
                  <a:gd name="T42" fmla="*/ 4091 w 4233"/>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3" h="5841">
                    <a:moveTo>
                      <a:pt x="283" y="5558"/>
                    </a:moveTo>
                    <a:lnTo>
                      <a:pt x="3950" y="5558"/>
                    </a:lnTo>
                    <a:lnTo>
                      <a:pt x="3950" y="1738"/>
                    </a:lnTo>
                    <a:cubicBezTo>
                      <a:pt x="3931" y="1732"/>
                      <a:pt x="3913" y="1723"/>
                      <a:pt x="3897" y="1711"/>
                    </a:cubicBezTo>
                    <a:lnTo>
                      <a:pt x="2223" y="331"/>
                    </a:lnTo>
                    <a:lnTo>
                      <a:pt x="293" y="1714"/>
                    </a:lnTo>
                    <a:cubicBezTo>
                      <a:pt x="290" y="1716"/>
                      <a:pt x="286" y="1719"/>
                      <a:pt x="283" y="1721"/>
                    </a:cubicBezTo>
                    <a:lnTo>
                      <a:pt x="283" y="5558"/>
                    </a:lnTo>
                    <a:close/>
                    <a:moveTo>
                      <a:pt x="4091" y="5841"/>
                    </a:moveTo>
                    <a:lnTo>
                      <a:pt x="141" y="5841"/>
                    </a:lnTo>
                    <a:cubicBezTo>
                      <a:pt x="63" y="5841"/>
                      <a:pt x="0" y="5777"/>
                      <a:pt x="0" y="5699"/>
                    </a:cubicBezTo>
                    <a:lnTo>
                      <a:pt x="0" y="1599"/>
                    </a:lnTo>
                    <a:cubicBezTo>
                      <a:pt x="0" y="1521"/>
                      <a:pt x="63" y="1457"/>
                      <a:pt x="141" y="1457"/>
                    </a:cubicBezTo>
                    <a:lnTo>
                      <a:pt x="165" y="1457"/>
                    </a:lnTo>
                    <a:lnTo>
                      <a:pt x="2146" y="38"/>
                    </a:lnTo>
                    <a:cubicBezTo>
                      <a:pt x="2198" y="0"/>
                      <a:pt x="2269" y="2"/>
                      <a:pt x="2319" y="43"/>
                    </a:cubicBezTo>
                    <a:lnTo>
                      <a:pt x="4033" y="1456"/>
                    </a:lnTo>
                    <a:lnTo>
                      <a:pt x="4081" y="1452"/>
                    </a:lnTo>
                    <a:cubicBezTo>
                      <a:pt x="4120" y="1449"/>
                      <a:pt x="4159" y="1463"/>
                      <a:pt x="4188" y="1489"/>
                    </a:cubicBezTo>
                    <a:cubicBezTo>
                      <a:pt x="4217" y="1516"/>
                      <a:pt x="4233" y="1554"/>
                      <a:pt x="4233" y="1593"/>
                    </a:cubicBezTo>
                    <a:lnTo>
                      <a:pt x="4233" y="5699"/>
                    </a:lnTo>
                    <a:cubicBezTo>
                      <a:pt x="4233" y="5777"/>
                      <a:pt x="4170" y="5841"/>
                      <a:pt x="4091"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1353">
                <a:extLst>
                  <a:ext uri="{FF2B5EF4-FFF2-40B4-BE49-F238E27FC236}">
                    <a16:creationId xmlns:a16="http://schemas.microsoft.com/office/drawing/2014/main" id="{B77944D2-1482-44D3-8A1E-D45DAE5E4D72}"/>
                  </a:ext>
                </a:extLst>
              </p:cNvPr>
              <p:cNvSpPr>
                <a:spLocks/>
              </p:cNvSpPr>
              <p:nvPr/>
            </p:nvSpPr>
            <p:spPr bwMode="auto">
              <a:xfrm>
                <a:off x="37703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354">
                <a:extLst>
                  <a:ext uri="{FF2B5EF4-FFF2-40B4-BE49-F238E27FC236}">
                    <a16:creationId xmlns:a16="http://schemas.microsoft.com/office/drawing/2014/main" id="{F4EFE2BD-F44A-4201-91F8-7BA1756355BE}"/>
                  </a:ext>
                </a:extLst>
              </p:cNvPr>
              <p:cNvSpPr>
                <a:spLocks noEditPoints="1"/>
              </p:cNvSpPr>
              <p:nvPr/>
            </p:nvSpPr>
            <p:spPr bwMode="auto">
              <a:xfrm>
                <a:off x="4121151" y="2130425"/>
                <a:ext cx="300038" cy="414338"/>
              </a:xfrm>
              <a:custGeom>
                <a:avLst/>
                <a:gdLst>
                  <a:gd name="T0" fmla="*/ 284 w 4234"/>
                  <a:gd name="T1" fmla="*/ 5557 h 5841"/>
                  <a:gd name="T2" fmla="*/ 3950 w 4234"/>
                  <a:gd name="T3" fmla="*/ 5557 h 5841"/>
                  <a:gd name="T4" fmla="*/ 3950 w 4234"/>
                  <a:gd name="T5" fmla="*/ 1739 h 5841"/>
                  <a:gd name="T6" fmla="*/ 3894 w 4234"/>
                  <a:gd name="T7" fmla="*/ 1711 h 5841"/>
                  <a:gd name="T8" fmla="*/ 2216 w 4234"/>
                  <a:gd name="T9" fmla="*/ 331 h 5841"/>
                  <a:gd name="T10" fmla="*/ 286 w 4234"/>
                  <a:gd name="T11" fmla="*/ 1715 h 5841"/>
                  <a:gd name="T12" fmla="*/ 284 w 4234"/>
                  <a:gd name="T13" fmla="*/ 1716 h 5841"/>
                  <a:gd name="T14" fmla="*/ 284 w 4234"/>
                  <a:gd name="T15" fmla="*/ 5557 h 5841"/>
                  <a:gd name="T16" fmla="*/ 4092 w 4234"/>
                  <a:gd name="T17" fmla="*/ 5841 h 5841"/>
                  <a:gd name="T18" fmla="*/ 142 w 4234"/>
                  <a:gd name="T19" fmla="*/ 5841 h 5841"/>
                  <a:gd name="T20" fmla="*/ 0 w 4234"/>
                  <a:gd name="T21" fmla="*/ 5700 h 5841"/>
                  <a:gd name="T22" fmla="*/ 0 w 4234"/>
                  <a:gd name="T23" fmla="*/ 1599 h 5841"/>
                  <a:gd name="T24" fmla="*/ 142 w 4234"/>
                  <a:gd name="T25" fmla="*/ 1458 h 5841"/>
                  <a:gd name="T26" fmla="*/ 158 w 4234"/>
                  <a:gd name="T27" fmla="*/ 1458 h 5841"/>
                  <a:gd name="T28" fmla="*/ 2139 w 4234"/>
                  <a:gd name="T29" fmla="*/ 37 h 5841"/>
                  <a:gd name="T30" fmla="*/ 2312 w 4234"/>
                  <a:gd name="T31" fmla="*/ 43 h 5841"/>
                  <a:gd name="T32" fmla="*/ 4030 w 4234"/>
                  <a:gd name="T33" fmla="*/ 1456 h 5841"/>
                  <a:gd name="T34" fmla="*/ 4082 w 4234"/>
                  <a:gd name="T35" fmla="*/ 1452 h 5841"/>
                  <a:gd name="T36" fmla="*/ 4189 w 4234"/>
                  <a:gd name="T37" fmla="*/ 1490 h 5841"/>
                  <a:gd name="T38" fmla="*/ 4234 w 4234"/>
                  <a:gd name="T39" fmla="*/ 1594 h 5841"/>
                  <a:gd name="T40" fmla="*/ 4234 w 4234"/>
                  <a:gd name="T41" fmla="*/ 5700 h 5841"/>
                  <a:gd name="T42" fmla="*/ 4092 w 4234"/>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4" h="5841">
                    <a:moveTo>
                      <a:pt x="284" y="5557"/>
                    </a:moveTo>
                    <a:lnTo>
                      <a:pt x="3950" y="5557"/>
                    </a:lnTo>
                    <a:lnTo>
                      <a:pt x="3950" y="1739"/>
                    </a:lnTo>
                    <a:cubicBezTo>
                      <a:pt x="3930" y="1734"/>
                      <a:pt x="3911" y="1724"/>
                      <a:pt x="3894" y="1711"/>
                    </a:cubicBezTo>
                    <a:lnTo>
                      <a:pt x="2216" y="331"/>
                    </a:lnTo>
                    <a:lnTo>
                      <a:pt x="286" y="1715"/>
                    </a:lnTo>
                    <a:cubicBezTo>
                      <a:pt x="285" y="1715"/>
                      <a:pt x="285" y="1715"/>
                      <a:pt x="284" y="1716"/>
                    </a:cubicBezTo>
                    <a:lnTo>
                      <a:pt x="284" y="5557"/>
                    </a:lnTo>
                    <a:close/>
                    <a:moveTo>
                      <a:pt x="4092" y="5841"/>
                    </a:moveTo>
                    <a:lnTo>
                      <a:pt x="142" y="5841"/>
                    </a:lnTo>
                    <a:cubicBezTo>
                      <a:pt x="64" y="5841"/>
                      <a:pt x="0" y="5778"/>
                      <a:pt x="0" y="5700"/>
                    </a:cubicBezTo>
                    <a:lnTo>
                      <a:pt x="0" y="1599"/>
                    </a:lnTo>
                    <a:cubicBezTo>
                      <a:pt x="0" y="1521"/>
                      <a:pt x="64" y="1458"/>
                      <a:pt x="142" y="1458"/>
                    </a:cubicBezTo>
                    <a:lnTo>
                      <a:pt x="158" y="1458"/>
                    </a:lnTo>
                    <a:lnTo>
                      <a:pt x="2139" y="37"/>
                    </a:lnTo>
                    <a:cubicBezTo>
                      <a:pt x="2192" y="0"/>
                      <a:pt x="2262" y="3"/>
                      <a:pt x="2312" y="43"/>
                    </a:cubicBezTo>
                    <a:lnTo>
                      <a:pt x="4030" y="1456"/>
                    </a:lnTo>
                    <a:lnTo>
                      <a:pt x="4082" y="1452"/>
                    </a:lnTo>
                    <a:cubicBezTo>
                      <a:pt x="4121" y="1449"/>
                      <a:pt x="4160" y="1463"/>
                      <a:pt x="4189" y="1490"/>
                    </a:cubicBezTo>
                    <a:cubicBezTo>
                      <a:pt x="4217" y="1517"/>
                      <a:pt x="4234" y="1554"/>
                      <a:pt x="4234" y="1594"/>
                    </a:cubicBezTo>
                    <a:lnTo>
                      <a:pt x="4234" y="5700"/>
                    </a:lnTo>
                    <a:cubicBezTo>
                      <a:pt x="4234" y="5778"/>
                      <a:pt x="4170" y="5841"/>
                      <a:pt x="4092"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1355">
                <a:extLst>
                  <a:ext uri="{FF2B5EF4-FFF2-40B4-BE49-F238E27FC236}">
                    <a16:creationId xmlns:a16="http://schemas.microsoft.com/office/drawing/2014/main" id="{08315321-B80C-4355-8418-CE9413F8002C}"/>
                  </a:ext>
                </a:extLst>
              </p:cNvPr>
              <p:cNvSpPr>
                <a:spLocks/>
              </p:cNvSpPr>
              <p:nvPr/>
            </p:nvSpPr>
            <p:spPr bwMode="auto">
              <a:xfrm>
                <a:off x="41132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356">
                <a:extLst>
                  <a:ext uri="{FF2B5EF4-FFF2-40B4-BE49-F238E27FC236}">
                    <a16:creationId xmlns:a16="http://schemas.microsoft.com/office/drawing/2014/main" id="{E0BE14B4-6FEC-4AAD-9BC1-5BDEF26C946B}"/>
                  </a:ext>
                </a:extLst>
              </p:cNvPr>
              <p:cNvSpPr>
                <a:spLocks/>
              </p:cNvSpPr>
              <p:nvPr/>
            </p:nvSpPr>
            <p:spPr bwMode="auto">
              <a:xfrm>
                <a:off x="3924301" y="2093913"/>
                <a:ext cx="20638" cy="57150"/>
              </a:xfrm>
              <a:custGeom>
                <a:avLst/>
                <a:gdLst>
                  <a:gd name="T0" fmla="*/ 142 w 283"/>
                  <a:gd name="T1" fmla="*/ 800 h 800"/>
                  <a:gd name="T2" fmla="*/ 0 w 283"/>
                  <a:gd name="T3" fmla="*/ 658 h 800"/>
                  <a:gd name="T4" fmla="*/ 0 w 283"/>
                  <a:gd name="T5" fmla="*/ 141 h 800"/>
                  <a:gd name="T6" fmla="*/ 142 w 283"/>
                  <a:gd name="T7" fmla="*/ 0 h 800"/>
                  <a:gd name="T8" fmla="*/ 283 w 283"/>
                  <a:gd name="T9" fmla="*/ 141 h 800"/>
                  <a:gd name="T10" fmla="*/ 283 w 283"/>
                  <a:gd name="T11" fmla="*/ 658 h 800"/>
                  <a:gd name="T12" fmla="*/ 142 w 283"/>
                  <a:gd name="T13" fmla="*/ 800 h 800"/>
                </a:gdLst>
                <a:ahLst/>
                <a:cxnLst>
                  <a:cxn ang="0">
                    <a:pos x="T0" y="T1"/>
                  </a:cxn>
                  <a:cxn ang="0">
                    <a:pos x="T2" y="T3"/>
                  </a:cxn>
                  <a:cxn ang="0">
                    <a:pos x="T4" y="T5"/>
                  </a:cxn>
                  <a:cxn ang="0">
                    <a:pos x="T6" y="T7"/>
                  </a:cxn>
                  <a:cxn ang="0">
                    <a:pos x="T8" y="T9"/>
                  </a:cxn>
                  <a:cxn ang="0">
                    <a:pos x="T10" y="T11"/>
                  </a:cxn>
                  <a:cxn ang="0">
                    <a:pos x="T12" y="T13"/>
                  </a:cxn>
                </a:cxnLst>
                <a:rect l="0" t="0" r="r" b="b"/>
                <a:pathLst>
                  <a:path w="283" h="800">
                    <a:moveTo>
                      <a:pt x="142" y="800"/>
                    </a:moveTo>
                    <a:cubicBezTo>
                      <a:pt x="64" y="800"/>
                      <a:pt x="0" y="736"/>
                      <a:pt x="0" y="658"/>
                    </a:cubicBezTo>
                    <a:lnTo>
                      <a:pt x="0" y="141"/>
                    </a:lnTo>
                    <a:cubicBezTo>
                      <a:pt x="0" y="63"/>
                      <a:pt x="64" y="0"/>
                      <a:pt x="142" y="0"/>
                    </a:cubicBezTo>
                    <a:cubicBezTo>
                      <a:pt x="220" y="0"/>
                      <a:pt x="283" y="63"/>
                      <a:pt x="283" y="141"/>
                    </a:cubicBezTo>
                    <a:lnTo>
                      <a:pt x="283" y="658"/>
                    </a:lnTo>
                    <a:cubicBezTo>
                      <a:pt x="283" y="736"/>
                      <a:pt x="220" y="800"/>
                      <a:pt x="142" y="8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357">
                <a:extLst>
                  <a:ext uri="{FF2B5EF4-FFF2-40B4-BE49-F238E27FC236}">
                    <a16:creationId xmlns:a16="http://schemas.microsoft.com/office/drawing/2014/main" id="{4149AA15-FFD9-4FDD-A390-51F3D8E1E390}"/>
                  </a:ext>
                </a:extLst>
              </p:cNvPr>
              <p:cNvSpPr>
                <a:spLocks/>
              </p:cNvSpPr>
              <p:nvPr/>
            </p:nvSpPr>
            <p:spPr bwMode="auto">
              <a:xfrm>
                <a:off x="4267201" y="2098675"/>
                <a:ext cx="20638" cy="52388"/>
              </a:xfrm>
              <a:custGeom>
                <a:avLst/>
                <a:gdLst>
                  <a:gd name="T0" fmla="*/ 142 w 283"/>
                  <a:gd name="T1" fmla="*/ 734 h 734"/>
                  <a:gd name="T2" fmla="*/ 0 w 283"/>
                  <a:gd name="T3" fmla="*/ 592 h 734"/>
                  <a:gd name="T4" fmla="*/ 0 w 283"/>
                  <a:gd name="T5" fmla="*/ 142 h 734"/>
                  <a:gd name="T6" fmla="*/ 142 w 283"/>
                  <a:gd name="T7" fmla="*/ 0 h 734"/>
                  <a:gd name="T8" fmla="*/ 283 w 283"/>
                  <a:gd name="T9" fmla="*/ 142 h 734"/>
                  <a:gd name="T10" fmla="*/ 283 w 283"/>
                  <a:gd name="T11" fmla="*/ 592 h 734"/>
                  <a:gd name="T12" fmla="*/ 142 w 283"/>
                  <a:gd name="T13" fmla="*/ 734 h 734"/>
                </a:gdLst>
                <a:ahLst/>
                <a:cxnLst>
                  <a:cxn ang="0">
                    <a:pos x="T0" y="T1"/>
                  </a:cxn>
                  <a:cxn ang="0">
                    <a:pos x="T2" y="T3"/>
                  </a:cxn>
                  <a:cxn ang="0">
                    <a:pos x="T4" y="T5"/>
                  </a:cxn>
                  <a:cxn ang="0">
                    <a:pos x="T6" y="T7"/>
                  </a:cxn>
                  <a:cxn ang="0">
                    <a:pos x="T8" y="T9"/>
                  </a:cxn>
                  <a:cxn ang="0">
                    <a:pos x="T10" y="T11"/>
                  </a:cxn>
                  <a:cxn ang="0">
                    <a:pos x="T12" y="T13"/>
                  </a:cxn>
                </a:cxnLst>
                <a:rect l="0" t="0" r="r" b="b"/>
                <a:pathLst>
                  <a:path w="283" h="734">
                    <a:moveTo>
                      <a:pt x="142" y="734"/>
                    </a:moveTo>
                    <a:cubicBezTo>
                      <a:pt x="64" y="734"/>
                      <a:pt x="0" y="670"/>
                      <a:pt x="0" y="592"/>
                    </a:cubicBezTo>
                    <a:lnTo>
                      <a:pt x="0" y="142"/>
                    </a:lnTo>
                    <a:cubicBezTo>
                      <a:pt x="0" y="64"/>
                      <a:pt x="64" y="0"/>
                      <a:pt x="142" y="0"/>
                    </a:cubicBezTo>
                    <a:cubicBezTo>
                      <a:pt x="220" y="0"/>
                      <a:pt x="283" y="64"/>
                      <a:pt x="283" y="142"/>
                    </a:cubicBezTo>
                    <a:lnTo>
                      <a:pt x="283" y="592"/>
                    </a:lnTo>
                    <a:cubicBezTo>
                      <a:pt x="283" y="670"/>
                      <a:pt x="220" y="734"/>
                      <a:pt x="142" y="7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1358">
                <a:extLst>
                  <a:ext uri="{FF2B5EF4-FFF2-40B4-BE49-F238E27FC236}">
                    <a16:creationId xmlns:a16="http://schemas.microsoft.com/office/drawing/2014/main" id="{637F4751-CB69-4CE4-A997-1F121B5C238D}"/>
                  </a:ext>
                </a:extLst>
              </p:cNvPr>
              <p:cNvSpPr>
                <a:spLocks/>
              </p:cNvSpPr>
              <p:nvPr/>
            </p:nvSpPr>
            <p:spPr bwMode="auto">
              <a:xfrm>
                <a:off x="3924301" y="2092325"/>
                <a:ext cx="363538" cy="20638"/>
              </a:xfrm>
              <a:custGeom>
                <a:avLst/>
                <a:gdLst>
                  <a:gd name="T0" fmla="*/ 4991 w 5133"/>
                  <a:gd name="T1" fmla="*/ 283 h 283"/>
                  <a:gd name="T2" fmla="*/ 141 w 5133"/>
                  <a:gd name="T3" fmla="*/ 283 h 283"/>
                  <a:gd name="T4" fmla="*/ 0 w 5133"/>
                  <a:gd name="T5" fmla="*/ 141 h 283"/>
                  <a:gd name="T6" fmla="*/ 141 w 5133"/>
                  <a:gd name="T7" fmla="*/ 0 h 283"/>
                  <a:gd name="T8" fmla="*/ 4991 w 5133"/>
                  <a:gd name="T9" fmla="*/ 0 h 283"/>
                  <a:gd name="T10" fmla="*/ 5133 w 5133"/>
                  <a:gd name="T11" fmla="*/ 141 h 283"/>
                  <a:gd name="T12" fmla="*/ 4991 w 5133"/>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5133" h="283">
                    <a:moveTo>
                      <a:pt x="4991" y="283"/>
                    </a:moveTo>
                    <a:lnTo>
                      <a:pt x="141" y="283"/>
                    </a:lnTo>
                    <a:cubicBezTo>
                      <a:pt x="63" y="283"/>
                      <a:pt x="0" y="220"/>
                      <a:pt x="0" y="141"/>
                    </a:cubicBezTo>
                    <a:cubicBezTo>
                      <a:pt x="0" y="63"/>
                      <a:pt x="63" y="0"/>
                      <a:pt x="141" y="0"/>
                    </a:cubicBezTo>
                    <a:lnTo>
                      <a:pt x="4991" y="0"/>
                    </a:lnTo>
                    <a:cubicBezTo>
                      <a:pt x="5070" y="0"/>
                      <a:pt x="5133" y="63"/>
                      <a:pt x="5133" y="141"/>
                    </a:cubicBezTo>
                    <a:cubicBezTo>
                      <a:pt x="5133" y="220"/>
                      <a:pt x="5070" y="283"/>
                      <a:pt x="4991"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1359">
                <a:extLst>
                  <a:ext uri="{FF2B5EF4-FFF2-40B4-BE49-F238E27FC236}">
                    <a16:creationId xmlns:a16="http://schemas.microsoft.com/office/drawing/2014/main" id="{AE269DB1-A293-4245-8F03-A6255ACB00E6}"/>
                  </a:ext>
                </a:extLst>
              </p:cNvPr>
              <p:cNvSpPr>
                <a:spLocks/>
              </p:cNvSpPr>
              <p:nvPr/>
            </p:nvSpPr>
            <p:spPr bwMode="auto">
              <a:xfrm>
                <a:off x="3829051"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1360">
                <a:extLst>
                  <a:ext uri="{FF2B5EF4-FFF2-40B4-BE49-F238E27FC236}">
                    <a16:creationId xmlns:a16="http://schemas.microsoft.com/office/drawing/2014/main" id="{032B9333-A9D6-4BB2-A09B-19AF2E7AED6F}"/>
                  </a:ext>
                </a:extLst>
              </p:cNvPr>
              <p:cNvSpPr>
                <a:spLocks/>
              </p:cNvSpPr>
              <p:nvPr/>
            </p:nvSpPr>
            <p:spPr bwMode="auto">
              <a:xfrm>
                <a:off x="3884613"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1361">
                <a:extLst>
                  <a:ext uri="{FF2B5EF4-FFF2-40B4-BE49-F238E27FC236}">
                    <a16:creationId xmlns:a16="http://schemas.microsoft.com/office/drawing/2014/main" id="{391D2499-66CC-4D60-91CC-DC5CDFA67FC6}"/>
                  </a:ext>
                </a:extLst>
              </p:cNvPr>
              <p:cNvSpPr>
                <a:spLocks/>
              </p:cNvSpPr>
              <p:nvPr/>
            </p:nvSpPr>
            <p:spPr bwMode="auto">
              <a:xfrm>
                <a:off x="3937001"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1362">
                <a:extLst>
                  <a:ext uri="{FF2B5EF4-FFF2-40B4-BE49-F238E27FC236}">
                    <a16:creationId xmlns:a16="http://schemas.microsoft.com/office/drawing/2014/main" id="{183E958D-25DE-4F4F-A7F4-ED850DF3C0F5}"/>
                  </a:ext>
                </a:extLst>
              </p:cNvPr>
              <p:cNvSpPr>
                <a:spLocks/>
              </p:cNvSpPr>
              <p:nvPr/>
            </p:nvSpPr>
            <p:spPr bwMode="auto">
              <a:xfrm>
                <a:off x="3997326"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1363">
                <a:extLst>
                  <a:ext uri="{FF2B5EF4-FFF2-40B4-BE49-F238E27FC236}">
                    <a16:creationId xmlns:a16="http://schemas.microsoft.com/office/drawing/2014/main" id="{404B78AB-3539-418A-9FFE-15CE5DC64092}"/>
                  </a:ext>
                </a:extLst>
              </p:cNvPr>
              <p:cNvSpPr>
                <a:spLocks/>
              </p:cNvSpPr>
              <p:nvPr/>
            </p:nvSpPr>
            <p:spPr bwMode="auto">
              <a:xfrm>
                <a:off x="4178301"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1364">
                <a:extLst>
                  <a:ext uri="{FF2B5EF4-FFF2-40B4-BE49-F238E27FC236}">
                    <a16:creationId xmlns:a16="http://schemas.microsoft.com/office/drawing/2014/main" id="{81E71CAD-4C6A-4596-BE5E-739368F1DC06}"/>
                  </a:ext>
                </a:extLst>
              </p:cNvPr>
              <p:cNvSpPr>
                <a:spLocks/>
              </p:cNvSpPr>
              <p:nvPr/>
            </p:nvSpPr>
            <p:spPr bwMode="auto">
              <a:xfrm>
                <a:off x="4233863"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1365">
                <a:extLst>
                  <a:ext uri="{FF2B5EF4-FFF2-40B4-BE49-F238E27FC236}">
                    <a16:creationId xmlns:a16="http://schemas.microsoft.com/office/drawing/2014/main" id="{7D16E6BC-1D14-492F-86C1-D9FA8E63793F}"/>
                  </a:ext>
                </a:extLst>
              </p:cNvPr>
              <p:cNvSpPr>
                <a:spLocks/>
              </p:cNvSpPr>
              <p:nvPr/>
            </p:nvSpPr>
            <p:spPr bwMode="auto">
              <a:xfrm>
                <a:off x="4286251" y="2293938"/>
                <a:ext cx="19050"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1366">
                <a:extLst>
                  <a:ext uri="{FF2B5EF4-FFF2-40B4-BE49-F238E27FC236}">
                    <a16:creationId xmlns:a16="http://schemas.microsoft.com/office/drawing/2014/main" id="{9A1AD19F-054A-4494-AAA0-2811C7F1E5B1}"/>
                  </a:ext>
                </a:extLst>
              </p:cNvPr>
              <p:cNvSpPr>
                <a:spLocks/>
              </p:cNvSpPr>
              <p:nvPr/>
            </p:nvSpPr>
            <p:spPr bwMode="auto">
              <a:xfrm>
                <a:off x="4344988"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5" name="TextBox 64">
              <a:extLst>
                <a:ext uri="{FF2B5EF4-FFF2-40B4-BE49-F238E27FC236}">
                  <a16:creationId xmlns:a16="http://schemas.microsoft.com/office/drawing/2014/main" id="{9E4A0CCC-ED4F-4D68-BF95-E7547CE9C5DA}"/>
                </a:ext>
              </a:extLst>
            </p:cNvPr>
            <p:cNvSpPr txBox="1"/>
            <p:nvPr/>
          </p:nvSpPr>
          <p:spPr>
            <a:xfrm>
              <a:off x="4823260" y="4469540"/>
              <a:ext cx="2545480" cy="523220"/>
            </a:xfrm>
            <a:prstGeom prst="rect">
              <a:avLst/>
            </a:prstGeom>
            <a:noFill/>
          </p:spPr>
          <p:txBody>
            <a:bodyPr wrap="square" rtlCol="0">
              <a:spAutoFit/>
            </a:bodyPr>
            <a:lstStyle/>
            <a:p>
              <a:pPr algn="ctr"/>
              <a:r>
                <a:rPr lang="en-SG" sz="2800" dirty="0">
                  <a:solidFill>
                    <a:schemeClr val="bg1"/>
                  </a:solidFill>
                  <a:latin typeface="Quicksand Book" panose="02070303000000060000" pitchFamily="18" charset="0"/>
                </a:rPr>
                <a:t>HOMEBO</a:t>
              </a:r>
            </a:p>
          </p:txBody>
        </p:sp>
      </p:grpSp>
      <p:grpSp>
        <p:nvGrpSpPr>
          <p:cNvPr id="69" name="Group 68">
            <a:extLst>
              <a:ext uri="{FF2B5EF4-FFF2-40B4-BE49-F238E27FC236}">
                <a16:creationId xmlns:a16="http://schemas.microsoft.com/office/drawing/2014/main" id="{D5508137-D023-4101-B8A9-DDC56C8E0D4E}"/>
              </a:ext>
            </a:extLst>
          </p:cNvPr>
          <p:cNvGrpSpPr/>
          <p:nvPr/>
        </p:nvGrpSpPr>
        <p:grpSpPr>
          <a:xfrm>
            <a:off x="8257591" y="2494835"/>
            <a:ext cx="2703605" cy="2497925"/>
            <a:chOff x="8257591" y="2494835"/>
            <a:chExt cx="2703605" cy="2497925"/>
          </a:xfrm>
        </p:grpSpPr>
        <p:grpSp>
          <p:nvGrpSpPr>
            <p:cNvPr id="49" name="Silos" descr="{&quot;Key&quot;:&quot;POWER_USER_SHAPE_ICON&quot;,&quot;Value&quot;:&quot;POWER_USER_SHAPE_ICON_STYLE_1&quot;}">
              <a:extLst>
                <a:ext uri="{FF2B5EF4-FFF2-40B4-BE49-F238E27FC236}">
                  <a16:creationId xmlns:a16="http://schemas.microsoft.com/office/drawing/2014/main" id="{F18A6C68-C7EE-4E12-92FB-4A36A811E264}"/>
                </a:ext>
              </a:extLst>
            </p:cNvPr>
            <p:cNvGrpSpPr>
              <a:grpSpLocks noChangeAspect="1"/>
            </p:cNvGrpSpPr>
            <p:nvPr>
              <p:custDataLst>
                <p:tags r:id="rId1"/>
              </p:custDataLst>
            </p:nvPr>
          </p:nvGrpSpPr>
          <p:grpSpPr>
            <a:xfrm>
              <a:off x="8257591" y="2494835"/>
              <a:ext cx="2680440" cy="1845232"/>
              <a:chOff x="3770313" y="2092325"/>
              <a:chExt cx="657225" cy="452438"/>
            </a:xfrm>
            <a:solidFill>
              <a:schemeClr val="bg1">
                <a:lumMod val="85000"/>
              </a:schemeClr>
            </a:solidFill>
          </p:grpSpPr>
          <p:sp>
            <p:nvSpPr>
              <p:cNvPr id="50" name="Freeform 1352">
                <a:extLst>
                  <a:ext uri="{FF2B5EF4-FFF2-40B4-BE49-F238E27FC236}">
                    <a16:creationId xmlns:a16="http://schemas.microsoft.com/office/drawing/2014/main" id="{1FDBE6F8-35F6-45CD-976C-7C851808B8CC}"/>
                  </a:ext>
                </a:extLst>
              </p:cNvPr>
              <p:cNvSpPr>
                <a:spLocks noEditPoints="1"/>
              </p:cNvSpPr>
              <p:nvPr/>
            </p:nvSpPr>
            <p:spPr bwMode="auto">
              <a:xfrm>
                <a:off x="3778251" y="2130425"/>
                <a:ext cx="298450" cy="414338"/>
              </a:xfrm>
              <a:custGeom>
                <a:avLst/>
                <a:gdLst>
                  <a:gd name="T0" fmla="*/ 283 w 4233"/>
                  <a:gd name="T1" fmla="*/ 5558 h 5841"/>
                  <a:gd name="T2" fmla="*/ 3950 w 4233"/>
                  <a:gd name="T3" fmla="*/ 5558 h 5841"/>
                  <a:gd name="T4" fmla="*/ 3950 w 4233"/>
                  <a:gd name="T5" fmla="*/ 1738 h 5841"/>
                  <a:gd name="T6" fmla="*/ 3897 w 4233"/>
                  <a:gd name="T7" fmla="*/ 1711 h 5841"/>
                  <a:gd name="T8" fmla="*/ 2223 w 4233"/>
                  <a:gd name="T9" fmla="*/ 331 h 5841"/>
                  <a:gd name="T10" fmla="*/ 293 w 4233"/>
                  <a:gd name="T11" fmla="*/ 1714 h 5841"/>
                  <a:gd name="T12" fmla="*/ 283 w 4233"/>
                  <a:gd name="T13" fmla="*/ 1721 h 5841"/>
                  <a:gd name="T14" fmla="*/ 283 w 4233"/>
                  <a:gd name="T15" fmla="*/ 5558 h 5841"/>
                  <a:gd name="T16" fmla="*/ 4091 w 4233"/>
                  <a:gd name="T17" fmla="*/ 5841 h 5841"/>
                  <a:gd name="T18" fmla="*/ 141 w 4233"/>
                  <a:gd name="T19" fmla="*/ 5841 h 5841"/>
                  <a:gd name="T20" fmla="*/ 0 w 4233"/>
                  <a:gd name="T21" fmla="*/ 5699 h 5841"/>
                  <a:gd name="T22" fmla="*/ 0 w 4233"/>
                  <a:gd name="T23" fmla="*/ 1599 h 5841"/>
                  <a:gd name="T24" fmla="*/ 141 w 4233"/>
                  <a:gd name="T25" fmla="*/ 1457 h 5841"/>
                  <a:gd name="T26" fmla="*/ 165 w 4233"/>
                  <a:gd name="T27" fmla="*/ 1457 h 5841"/>
                  <a:gd name="T28" fmla="*/ 2146 w 4233"/>
                  <a:gd name="T29" fmla="*/ 38 h 5841"/>
                  <a:gd name="T30" fmla="*/ 2319 w 4233"/>
                  <a:gd name="T31" fmla="*/ 43 h 5841"/>
                  <a:gd name="T32" fmla="*/ 4033 w 4233"/>
                  <a:gd name="T33" fmla="*/ 1456 h 5841"/>
                  <a:gd name="T34" fmla="*/ 4081 w 4233"/>
                  <a:gd name="T35" fmla="*/ 1452 h 5841"/>
                  <a:gd name="T36" fmla="*/ 4188 w 4233"/>
                  <a:gd name="T37" fmla="*/ 1489 h 5841"/>
                  <a:gd name="T38" fmla="*/ 4233 w 4233"/>
                  <a:gd name="T39" fmla="*/ 1593 h 5841"/>
                  <a:gd name="T40" fmla="*/ 4233 w 4233"/>
                  <a:gd name="T41" fmla="*/ 5699 h 5841"/>
                  <a:gd name="T42" fmla="*/ 4091 w 4233"/>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3" h="5841">
                    <a:moveTo>
                      <a:pt x="283" y="5558"/>
                    </a:moveTo>
                    <a:lnTo>
                      <a:pt x="3950" y="5558"/>
                    </a:lnTo>
                    <a:lnTo>
                      <a:pt x="3950" y="1738"/>
                    </a:lnTo>
                    <a:cubicBezTo>
                      <a:pt x="3931" y="1732"/>
                      <a:pt x="3913" y="1723"/>
                      <a:pt x="3897" y="1711"/>
                    </a:cubicBezTo>
                    <a:lnTo>
                      <a:pt x="2223" y="331"/>
                    </a:lnTo>
                    <a:lnTo>
                      <a:pt x="293" y="1714"/>
                    </a:lnTo>
                    <a:cubicBezTo>
                      <a:pt x="290" y="1716"/>
                      <a:pt x="286" y="1719"/>
                      <a:pt x="283" y="1721"/>
                    </a:cubicBezTo>
                    <a:lnTo>
                      <a:pt x="283" y="5558"/>
                    </a:lnTo>
                    <a:close/>
                    <a:moveTo>
                      <a:pt x="4091" y="5841"/>
                    </a:moveTo>
                    <a:lnTo>
                      <a:pt x="141" y="5841"/>
                    </a:lnTo>
                    <a:cubicBezTo>
                      <a:pt x="63" y="5841"/>
                      <a:pt x="0" y="5777"/>
                      <a:pt x="0" y="5699"/>
                    </a:cubicBezTo>
                    <a:lnTo>
                      <a:pt x="0" y="1599"/>
                    </a:lnTo>
                    <a:cubicBezTo>
                      <a:pt x="0" y="1521"/>
                      <a:pt x="63" y="1457"/>
                      <a:pt x="141" y="1457"/>
                    </a:cubicBezTo>
                    <a:lnTo>
                      <a:pt x="165" y="1457"/>
                    </a:lnTo>
                    <a:lnTo>
                      <a:pt x="2146" y="38"/>
                    </a:lnTo>
                    <a:cubicBezTo>
                      <a:pt x="2198" y="0"/>
                      <a:pt x="2269" y="2"/>
                      <a:pt x="2319" y="43"/>
                    </a:cubicBezTo>
                    <a:lnTo>
                      <a:pt x="4033" y="1456"/>
                    </a:lnTo>
                    <a:lnTo>
                      <a:pt x="4081" y="1452"/>
                    </a:lnTo>
                    <a:cubicBezTo>
                      <a:pt x="4120" y="1449"/>
                      <a:pt x="4159" y="1463"/>
                      <a:pt x="4188" y="1489"/>
                    </a:cubicBezTo>
                    <a:cubicBezTo>
                      <a:pt x="4217" y="1516"/>
                      <a:pt x="4233" y="1554"/>
                      <a:pt x="4233" y="1593"/>
                    </a:cubicBezTo>
                    <a:lnTo>
                      <a:pt x="4233" y="5699"/>
                    </a:lnTo>
                    <a:cubicBezTo>
                      <a:pt x="4233" y="5777"/>
                      <a:pt x="4170" y="5841"/>
                      <a:pt x="4091"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1353">
                <a:extLst>
                  <a:ext uri="{FF2B5EF4-FFF2-40B4-BE49-F238E27FC236}">
                    <a16:creationId xmlns:a16="http://schemas.microsoft.com/office/drawing/2014/main" id="{A24F054B-48B6-45E0-B1DB-5AC5ACC9ABCB}"/>
                  </a:ext>
                </a:extLst>
              </p:cNvPr>
              <p:cNvSpPr>
                <a:spLocks/>
              </p:cNvSpPr>
              <p:nvPr/>
            </p:nvSpPr>
            <p:spPr bwMode="auto">
              <a:xfrm>
                <a:off x="37703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1354">
                <a:extLst>
                  <a:ext uri="{FF2B5EF4-FFF2-40B4-BE49-F238E27FC236}">
                    <a16:creationId xmlns:a16="http://schemas.microsoft.com/office/drawing/2014/main" id="{C4A50BBF-EF53-4685-9A46-D05B13B59CB0}"/>
                  </a:ext>
                </a:extLst>
              </p:cNvPr>
              <p:cNvSpPr>
                <a:spLocks noEditPoints="1"/>
              </p:cNvSpPr>
              <p:nvPr/>
            </p:nvSpPr>
            <p:spPr bwMode="auto">
              <a:xfrm>
                <a:off x="4121151" y="2130425"/>
                <a:ext cx="300038" cy="414338"/>
              </a:xfrm>
              <a:custGeom>
                <a:avLst/>
                <a:gdLst>
                  <a:gd name="T0" fmla="*/ 284 w 4234"/>
                  <a:gd name="T1" fmla="*/ 5557 h 5841"/>
                  <a:gd name="T2" fmla="*/ 3950 w 4234"/>
                  <a:gd name="T3" fmla="*/ 5557 h 5841"/>
                  <a:gd name="T4" fmla="*/ 3950 w 4234"/>
                  <a:gd name="T5" fmla="*/ 1739 h 5841"/>
                  <a:gd name="T6" fmla="*/ 3894 w 4234"/>
                  <a:gd name="T7" fmla="*/ 1711 h 5841"/>
                  <a:gd name="T8" fmla="*/ 2216 w 4234"/>
                  <a:gd name="T9" fmla="*/ 331 h 5841"/>
                  <a:gd name="T10" fmla="*/ 286 w 4234"/>
                  <a:gd name="T11" fmla="*/ 1715 h 5841"/>
                  <a:gd name="T12" fmla="*/ 284 w 4234"/>
                  <a:gd name="T13" fmla="*/ 1716 h 5841"/>
                  <a:gd name="T14" fmla="*/ 284 w 4234"/>
                  <a:gd name="T15" fmla="*/ 5557 h 5841"/>
                  <a:gd name="T16" fmla="*/ 4092 w 4234"/>
                  <a:gd name="T17" fmla="*/ 5841 h 5841"/>
                  <a:gd name="T18" fmla="*/ 142 w 4234"/>
                  <a:gd name="T19" fmla="*/ 5841 h 5841"/>
                  <a:gd name="T20" fmla="*/ 0 w 4234"/>
                  <a:gd name="T21" fmla="*/ 5700 h 5841"/>
                  <a:gd name="T22" fmla="*/ 0 w 4234"/>
                  <a:gd name="T23" fmla="*/ 1599 h 5841"/>
                  <a:gd name="T24" fmla="*/ 142 w 4234"/>
                  <a:gd name="T25" fmla="*/ 1458 h 5841"/>
                  <a:gd name="T26" fmla="*/ 158 w 4234"/>
                  <a:gd name="T27" fmla="*/ 1458 h 5841"/>
                  <a:gd name="T28" fmla="*/ 2139 w 4234"/>
                  <a:gd name="T29" fmla="*/ 37 h 5841"/>
                  <a:gd name="T30" fmla="*/ 2312 w 4234"/>
                  <a:gd name="T31" fmla="*/ 43 h 5841"/>
                  <a:gd name="T32" fmla="*/ 4030 w 4234"/>
                  <a:gd name="T33" fmla="*/ 1456 h 5841"/>
                  <a:gd name="T34" fmla="*/ 4082 w 4234"/>
                  <a:gd name="T35" fmla="*/ 1452 h 5841"/>
                  <a:gd name="T36" fmla="*/ 4189 w 4234"/>
                  <a:gd name="T37" fmla="*/ 1490 h 5841"/>
                  <a:gd name="T38" fmla="*/ 4234 w 4234"/>
                  <a:gd name="T39" fmla="*/ 1594 h 5841"/>
                  <a:gd name="T40" fmla="*/ 4234 w 4234"/>
                  <a:gd name="T41" fmla="*/ 5700 h 5841"/>
                  <a:gd name="T42" fmla="*/ 4092 w 4234"/>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4" h="5841">
                    <a:moveTo>
                      <a:pt x="284" y="5557"/>
                    </a:moveTo>
                    <a:lnTo>
                      <a:pt x="3950" y="5557"/>
                    </a:lnTo>
                    <a:lnTo>
                      <a:pt x="3950" y="1739"/>
                    </a:lnTo>
                    <a:cubicBezTo>
                      <a:pt x="3930" y="1734"/>
                      <a:pt x="3911" y="1724"/>
                      <a:pt x="3894" y="1711"/>
                    </a:cubicBezTo>
                    <a:lnTo>
                      <a:pt x="2216" y="331"/>
                    </a:lnTo>
                    <a:lnTo>
                      <a:pt x="286" y="1715"/>
                    </a:lnTo>
                    <a:cubicBezTo>
                      <a:pt x="285" y="1715"/>
                      <a:pt x="285" y="1715"/>
                      <a:pt x="284" y="1716"/>
                    </a:cubicBezTo>
                    <a:lnTo>
                      <a:pt x="284" y="5557"/>
                    </a:lnTo>
                    <a:close/>
                    <a:moveTo>
                      <a:pt x="4092" y="5841"/>
                    </a:moveTo>
                    <a:lnTo>
                      <a:pt x="142" y="5841"/>
                    </a:lnTo>
                    <a:cubicBezTo>
                      <a:pt x="64" y="5841"/>
                      <a:pt x="0" y="5778"/>
                      <a:pt x="0" y="5700"/>
                    </a:cubicBezTo>
                    <a:lnTo>
                      <a:pt x="0" y="1599"/>
                    </a:lnTo>
                    <a:cubicBezTo>
                      <a:pt x="0" y="1521"/>
                      <a:pt x="64" y="1458"/>
                      <a:pt x="142" y="1458"/>
                    </a:cubicBezTo>
                    <a:lnTo>
                      <a:pt x="158" y="1458"/>
                    </a:lnTo>
                    <a:lnTo>
                      <a:pt x="2139" y="37"/>
                    </a:lnTo>
                    <a:cubicBezTo>
                      <a:pt x="2192" y="0"/>
                      <a:pt x="2262" y="3"/>
                      <a:pt x="2312" y="43"/>
                    </a:cubicBezTo>
                    <a:lnTo>
                      <a:pt x="4030" y="1456"/>
                    </a:lnTo>
                    <a:lnTo>
                      <a:pt x="4082" y="1452"/>
                    </a:lnTo>
                    <a:cubicBezTo>
                      <a:pt x="4121" y="1449"/>
                      <a:pt x="4160" y="1463"/>
                      <a:pt x="4189" y="1490"/>
                    </a:cubicBezTo>
                    <a:cubicBezTo>
                      <a:pt x="4217" y="1517"/>
                      <a:pt x="4234" y="1554"/>
                      <a:pt x="4234" y="1594"/>
                    </a:cubicBezTo>
                    <a:lnTo>
                      <a:pt x="4234" y="5700"/>
                    </a:lnTo>
                    <a:cubicBezTo>
                      <a:pt x="4234" y="5778"/>
                      <a:pt x="4170" y="5841"/>
                      <a:pt x="4092"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1355">
                <a:extLst>
                  <a:ext uri="{FF2B5EF4-FFF2-40B4-BE49-F238E27FC236}">
                    <a16:creationId xmlns:a16="http://schemas.microsoft.com/office/drawing/2014/main" id="{38B2F223-7788-4680-A403-CB3BA788FD79}"/>
                  </a:ext>
                </a:extLst>
              </p:cNvPr>
              <p:cNvSpPr>
                <a:spLocks/>
              </p:cNvSpPr>
              <p:nvPr/>
            </p:nvSpPr>
            <p:spPr bwMode="auto">
              <a:xfrm>
                <a:off x="41132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1356">
                <a:extLst>
                  <a:ext uri="{FF2B5EF4-FFF2-40B4-BE49-F238E27FC236}">
                    <a16:creationId xmlns:a16="http://schemas.microsoft.com/office/drawing/2014/main" id="{51F97F9C-BC31-49C6-8E5F-F3C74296C710}"/>
                  </a:ext>
                </a:extLst>
              </p:cNvPr>
              <p:cNvSpPr>
                <a:spLocks/>
              </p:cNvSpPr>
              <p:nvPr/>
            </p:nvSpPr>
            <p:spPr bwMode="auto">
              <a:xfrm>
                <a:off x="3924301" y="2093913"/>
                <a:ext cx="20638" cy="57150"/>
              </a:xfrm>
              <a:custGeom>
                <a:avLst/>
                <a:gdLst>
                  <a:gd name="T0" fmla="*/ 142 w 283"/>
                  <a:gd name="T1" fmla="*/ 800 h 800"/>
                  <a:gd name="T2" fmla="*/ 0 w 283"/>
                  <a:gd name="T3" fmla="*/ 658 h 800"/>
                  <a:gd name="T4" fmla="*/ 0 w 283"/>
                  <a:gd name="T5" fmla="*/ 141 h 800"/>
                  <a:gd name="T6" fmla="*/ 142 w 283"/>
                  <a:gd name="T7" fmla="*/ 0 h 800"/>
                  <a:gd name="T8" fmla="*/ 283 w 283"/>
                  <a:gd name="T9" fmla="*/ 141 h 800"/>
                  <a:gd name="T10" fmla="*/ 283 w 283"/>
                  <a:gd name="T11" fmla="*/ 658 h 800"/>
                  <a:gd name="T12" fmla="*/ 142 w 283"/>
                  <a:gd name="T13" fmla="*/ 800 h 800"/>
                </a:gdLst>
                <a:ahLst/>
                <a:cxnLst>
                  <a:cxn ang="0">
                    <a:pos x="T0" y="T1"/>
                  </a:cxn>
                  <a:cxn ang="0">
                    <a:pos x="T2" y="T3"/>
                  </a:cxn>
                  <a:cxn ang="0">
                    <a:pos x="T4" y="T5"/>
                  </a:cxn>
                  <a:cxn ang="0">
                    <a:pos x="T6" y="T7"/>
                  </a:cxn>
                  <a:cxn ang="0">
                    <a:pos x="T8" y="T9"/>
                  </a:cxn>
                  <a:cxn ang="0">
                    <a:pos x="T10" y="T11"/>
                  </a:cxn>
                  <a:cxn ang="0">
                    <a:pos x="T12" y="T13"/>
                  </a:cxn>
                </a:cxnLst>
                <a:rect l="0" t="0" r="r" b="b"/>
                <a:pathLst>
                  <a:path w="283" h="800">
                    <a:moveTo>
                      <a:pt x="142" y="800"/>
                    </a:moveTo>
                    <a:cubicBezTo>
                      <a:pt x="64" y="800"/>
                      <a:pt x="0" y="736"/>
                      <a:pt x="0" y="658"/>
                    </a:cubicBezTo>
                    <a:lnTo>
                      <a:pt x="0" y="141"/>
                    </a:lnTo>
                    <a:cubicBezTo>
                      <a:pt x="0" y="63"/>
                      <a:pt x="64" y="0"/>
                      <a:pt x="142" y="0"/>
                    </a:cubicBezTo>
                    <a:cubicBezTo>
                      <a:pt x="220" y="0"/>
                      <a:pt x="283" y="63"/>
                      <a:pt x="283" y="141"/>
                    </a:cubicBezTo>
                    <a:lnTo>
                      <a:pt x="283" y="658"/>
                    </a:lnTo>
                    <a:cubicBezTo>
                      <a:pt x="283" y="736"/>
                      <a:pt x="220" y="800"/>
                      <a:pt x="142" y="8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1357">
                <a:extLst>
                  <a:ext uri="{FF2B5EF4-FFF2-40B4-BE49-F238E27FC236}">
                    <a16:creationId xmlns:a16="http://schemas.microsoft.com/office/drawing/2014/main" id="{24A25296-5CA7-4996-BBFE-2DAD25A99BD6}"/>
                  </a:ext>
                </a:extLst>
              </p:cNvPr>
              <p:cNvSpPr>
                <a:spLocks/>
              </p:cNvSpPr>
              <p:nvPr/>
            </p:nvSpPr>
            <p:spPr bwMode="auto">
              <a:xfrm>
                <a:off x="4267201" y="2098675"/>
                <a:ext cx="20638" cy="52388"/>
              </a:xfrm>
              <a:custGeom>
                <a:avLst/>
                <a:gdLst>
                  <a:gd name="T0" fmla="*/ 142 w 283"/>
                  <a:gd name="T1" fmla="*/ 734 h 734"/>
                  <a:gd name="T2" fmla="*/ 0 w 283"/>
                  <a:gd name="T3" fmla="*/ 592 h 734"/>
                  <a:gd name="T4" fmla="*/ 0 w 283"/>
                  <a:gd name="T5" fmla="*/ 142 h 734"/>
                  <a:gd name="T6" fmla="*/ 142 w 283"/>
                  <a:gd name="T7" fmla="*/ 0 h 734"/>
                  <a:gd name="T8" fmla="*/ 283 w 283"/>
                  <a:gd name="T9" fmla="*/ 142 h 734"/>
                  <a:gd name="T10" fmla="*/ 283 w 283"/>
                  <a:gd name="T11" fmla="*/ 592 h 734"/>
                  <a:gd name="T12" fmla="*/ 142 w 283"/>
                  <a:gd name="T13" fmla="*/ 734 h 734"/>
                </a:gdLst>
                <a:ahLst/>
                <a:cxnLst>
                  <a:cxn ang="0">
                    <a:pos x="T0" y="T1"/>
                  </a:cxn>
                  <a:cxn ang="0">
                    <a:pos x="T2" y="T3"/>
                  </a:cxn>
                  <a:cxn ang="0">
                    <a:pos x="T4" y="T5"/>
                  </a:cxn>
                  <a:cxn ang="0">
                    <a:pos x="T6" y="T7"/>
                  </a:cxn>
                  <a:cxn ang="0">
                    <a:pos x="T8" y="T9"/>
                  </a:cxn>
                  <a:cxn ang="0">
                    <a:pos x="T10" y="T11"/>
                  </a:cxn>
                  <a:cxn ang="0">
                    <a:pos x="T12" y="T13"/>
                  </a:cxn>
                </a:cxnLst>
                <a:rect l="0" t="0" r="r" b="b"/>
                <a:pathLst>
                  <a:path w="283" h="734">
                    <a:moveTo>
                      <a:pt x="142" y="734"/>
                    </a:moveTo>
                    <a:cubicBezTo>
                      <a:pt x="64" y="734"/>
                      <a:pt x="0" y="670"/>
                      <a:pt x="0" y="592"/>
                    </a:cubicBezTo>
                    <a:lnTo>
                      <a:pt x="0" y="142"/>
                    </a:lnTo>
                    <a:cubicBezTo>
                      <a:pt x="0" y="64"/>
                      <a:pt x="64" y="0"/>
                      <a:pt x="142" y="0"/>
                    </a:cubicBezTo>
                    <a:cubicBezTo>
                      <a:pt x="220" y="0"/>
                      <a:pt x="283" y="64"/>
                      <a:pt x="283" y="142"/>
                    </a:cubicBezTo>
                    <a:lnTo>
                      <a:pt x="283" y="592"/>
                    </a:lnTo>
                    <a:cubicBezTo>
                      <a:pt x="283" y="670"/>
                      <a:pt x="220" y="734"/>
                      <a:pt x="142" y="7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1358">
                <a:extLst>
                  <a:ext uri="{FF2B5EF4-FFF2-40B4-BE49-F238E27FC236}">
                    <a16:creationId xmlns:a16="http://schemas.microsoft.com/office/drawing/2014/main" id="{0F6E1A2B-F8D1-41E4-AB55-9E1FA8DA5A46}"/>
                  </a:ext>
                </a:extLst>
              </p:cNvPr>
              <p:cNvSpPr>
                <a:spLocks/>
              </p:cNvSpPr>
              <p:nvPr/>
            </p:nvSpPr>
            <p:spPr bwMode="auto">
              <a:xfrm>
                <a:off x="3924301" y="2092325"/>
                <a:ext cx="363538" cy="20638"/>
              </a:xfrm>
              <a:custGeom>
                <a:avLst/>
                <a:gdLst>
                  <a:gd name="T0" fmla="*/ 4991 w 5133"/>
                  <a:gd name="T1" fmla="*/ 283 h 283"/>
                  <a:gd name="T2" fmla="*/ 141 w 5133"/>
                  <a:gd name="T3" fmla="*/ 283 h 283"/>
                  <a:gd name="T4" fmla="*/ 0 w 5133"/>
                  <a:gd name="T5" fmla="*/ 141 h 283"/>
                  <a:gd name="T6" fmla="*/ 141 w 5133"/>
                  <a:gd name="T7" fmla="*/ 0 h 283"/>
                  <a:gd name="T8" fmla="*/ 4991 w 5133"/>
                  <a:gd name="T9" fmla="*/ 0 h 283"/>
                  <a:gd name="T10" fmla="*/ 5133 w 5133"/>
                  <a:gd name="T11" fmla="*/ 141 h 283"/>
                  <a:gd name="T12" fmla="*/ 4991 w 5133"/>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5133" h="283">
                    <a:moveTo>
                      <a:pt x="4991" y="283"/>
                    </a:moveTo>
                    <a:lnTo>
                      <a:pt x="141" y="283"/>
                    </a:lnTo>
                    <a:cubicBezTo>
                      <a:pt x="63" y="283"/>
                      <a:pt x="0" y="220"/>
                      <a:pt x="0" y="141"/>
                    </a:cubicBezTo>
                    <a:cubicBezTo>
                      <a:pt x="0" y="63"/>
                      <a:pt x="63" y="0"/>
                      <a:pt x="141" y="0"/>
                    </a:cubicBezTo>
                    <a:lnTo>
                      <a:pt x="4991" y="0"/>
                    </a:lnTo>
                    <a:cubicBezTo>
                      <a:pt x="5070" y="0"/>
                      <a:pt x="5133" y="63"/>
                      <a:pt x="5133" y="141"/>
                    </a:cubicBezTo>
                    <a:cubicBezTo>
                      <a:pt x="5133" y="220"/>
                      <a:pt x="5070" y="283"/>
                      <a:pt x="4991"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1359">
                <a:extLst>
                  <a:ext uri="{FF2B5EF4-FFF2-40B4-BE49-F238E27FC236}">
                    <a16:creationId xmlns:a16="http://schemas.microsoft.com/office/drawing/2014/main" id="{DCFA196D-49E0-4FAD-8822-F5D3B7919994}"/>
                  </a:ext>
                </a:extLst>
              </p:cNvPr>
              <p:cNvSpPr>
                <a:spLocks/>
              </p:cNvSpPr>
              <p:nvPr/>
            </p:nvSpPr>
            <p:spPr bwMode="auto">
              <a:xfrm>
                <a:off x="3829051"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1360">
                <a:extLst>
                  <a:ext uri="{FF2B5EF4-FFF2-40B4-BE49-F238E27FC236}">
                    <a16:creationId xmlns:a16="http://schemas.microsoft.com/office/drawing/2014/main" id="{6C7A4AE4-A355-4B1F-9361-9844AA10AD72}"/>
                  </a:ext>
                </a:extLst>
              </p:cNvPr>
              <p:cNvSpPr>
                <a:spLocks/>
              </p:cNvSpPr>
              <p:nvPr/>
            </p:nvSpPr>
            <p:spPr bwMode="auto">
              <a:xfrm>
                <a:off x="3884613"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1361">
                <a:extLst>
                  <a:ext uri="{FF2B5EF4-FFF2-40B4-BE49-F238E27FC236}">
                    <a16:creationId xmlns:a16="http://schemas.microsoft.com/office/drawing/2014/main" id="{9D0E65DC-F277-4D72-95BA-2DB68160E5AD}"/>
                  </a:ext>
                </a:extLst>
              </p:cNvPr>
              <p:cNvSpPr>
                <a:spLocks/>
              </p:cNvSpPr>
              <p:nvPr/>
            </p:nvSpPr>
            <p:spPr bwMode="auto">
              <a:xfrm>
                <a:off x="3937001"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362">
                <a:extLst>
                  <a:ext uri="{FF2B5EF4-FFF2-40B4-BE49-F238E27FC236}">
                    <a16:creationId xmlns:a16="http://schemas.microsoft.com/office/drawing/2014/main" id="{6A15DBD5-F0FC-4A16-A750-8D1C47149F99}"/>
                  </a:ext>
                </a:extLst>
              </p:cNvPr>
              <p:cNvSpPr>
                <a:spLocks/>
              </p:cNvSpPr>
              <p:nvPr/>
            </p:nvSpPr>
            <p:spPr bwMode="auto">
              <a:xfrm>
                <a:off x="3997326"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1363">
                <a:extLst>
                  <a:ext uri="{FF2B5EF4-FFF2-40B4-BE49-F238E27FC236}">
                    <a16:creationId xmlns:a16="http://schemas.microsoft.com/office/drawing/2014/main" id="{CDCC7593-23F0-4BD1-B0C0-5BD775488D77}"/>
                  </a:ext>
                </a:extLst>
              </p:cNvPr>
              <p:cNvSpPr>
                <a:spLocks/>
              </p:cNvSpPr>
              <p:nvPr/>
            </p:nvSpPr>
            <p:spPr bwMode="auto">
              <a:xfrm>
                <a:off x="4178301"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1364">
                <a:extLst>
                  <a:ext uri="{FF2B5EF4-FFF2-40B4-BE49-F238E27FC236}">
                    <a16:creationId xmlns:a16="http://schemas.microsoft.com/office/drawing/2014/main" id="{7E3C5A7F-470C-4FA8-B982-FA4D8C131FB3}"/>
                  </a:ext>
                </a:extLst>
              </p:cNvPr>
              <p:cNvSpPr>
                <a:spLocks/>
              </p:cNvSpPr>
              <p:nvPr/>
            </p:nvSpPr>
            <p:spPr bwMode="auto">
              <a:xfrm>
                <a:off x="4233863"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365">
                <a:extLst>
                  <a:ext uri="{FF2B5EF4-FFF2-40B4-BE49-F238E27FC236}">
                    <a16:creationId xmlns:a16="http://schemas.microsoft.com/office/drawing/2014/main" id="{BB3834B2-770A-47C6-B928-659AA7E1ABBD}"/>
                  </a:ext>
                </a:extLst>
              </p:cNvPr>
              <p:cNvSpPr>
                <a:spLocks/>
              </p:cNvSpPr>
              <p:nvPr/>
            </p:nvSpPr>
            <p:spPr bwMode="auto">
              <a:xfrm>
                <a:off x="4286251" y="2293938"/>
                <a:ext cx="19050"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1366">
                <a:extLst>
                  <a:ext uri="{FF2B5EF4-FFF2-40B4-BE49-F238E27FC236}">
                    <a16:creationId xmlns:a16="http://schemas.microsoft.com/office/drawing/2014/main" id="{443C4EC3-BF24-4759-B22D-61AD8C0CF926}"/>
                  </a:ext>
                </a:extLst>
              </p:cNvPr>
              <p:cNvSpPr>
                <a:spLocks/>
              </p:cNvSpPr>
              <p:nvPr/>
            </p:nvSpPr>
            <p:spPr bwMode="auto">
              <a:xfrm>
                <a:off x="4344988"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7" name="TextBox 66">
              <a:extLst>
                <a:ext uri="{FF2B5EF4-FFF2-40B4-BE49-F238E27FC236}">
                  <a16:creationId xmlns:a16="http://schemas.microsoft.com/office/drawing/2014/main" id="{26B8A455-1444-4805-93F7-84A486258FDC}"/>
                </a:ext>
              </a:extLst>
            </p:cNvPr>
            <p:cNvSpPr txBox="1"/>
            <p:nvPr/>
          </p:nvSpPr>
          <p:spPr>
            <a:xfrm>
              <a:off x="8415716" y="4469540"/>
              <a:ext cx="2545480" cy="523220"/>
            </a:xfrm>
            <a:prstGeom prst="rect">
              <a:avLst/>
            </a:prstGeom>
            <a:noFill/>
          </p:spPr>
          <p:txBody>
            <a:bodyPr wrap="square" rtlCol="0">
              <a:spAutoFit/>
            </a:bodyPr>
            <a:lstStyle/>
            <a:p>
              <a:pPr algn="ctr"/>
              <a:r>
                <a:rPr lang="en-SG" sz="2800" dirty="0">
                  <a:solidFill>
                    <a:schemeClr val="bg1"/>
                  </a:solidFill>
                  <a:latin typeface="Quicksand Book" panose="02070303000000060000" pitchFamily="18" charset="0"/>
                </a:rPr>
                <a:t>ELBO</a:t>
              </a:r>
            </a:p>
          </p:txBody>
        </p:sp>
      </p:grpSp>
    </p:spTree>
    <p:extLst>
      <p:ext uri="{BB962C8B-B14F-4D97-AF65-F5344CB8AC3E}">
        <p14:creationId xmlns:p14="http://schemas.microsoft.com/office/powerpoint/2010/main" val="874420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8" accel="60000" fill="hold" nodeType="withEffect">
                                  <p:stCondLst>
                                    <p:cond delay="0"/>
                                  </p:stCondLst>
                                  <p:childTnLst>
                                    <p:anim calcmode="lin" valueType="num">
                                      <p:cBhvr additive="base">
                                        <p:cTn id="6" dur="500"/>
                                        <p:tgtEl>
                                          <p:spTgt spid="2"/>
                                        </p:tgtEl>
                                        <p:attrNameLst>
                                          <p:attrName>ppt_x</p:attrName>
                                        </p:attrNameLst>
                                      </p:cBhvr>
                                      <p:tavLst>
                                        <p:tav tm="0">
                                          <p:val>
                                            <p:strVal val="ppt_x"/>
                                          </p:val>
                                        </p:tav>
                                        <p:tav tm="100000">
                                          <p:val>
                                            <p:strVal val="0-ppt_w/2"/>
                                          </p:val>
                                        </p:tav>
                                      </p:tavLst>
                                    </p:anim>
                                    <p:anim calcmode="lin" valueType="num">
                                      <p:cBhvr additive="base">
                                        <p:cTn id="7" dur="500"/>
                                        <p:tgtEl>
                                          <p:spTgt spid="2"/>
                                        </p:tgtEl>
                                        <p:attrNameLst>
                                          <p:attrName>ppt_y</p:attrName>
                                        </p:attrNameLst>
                                      </p:cBhvr>
                                      <p:tavLst>
                                        <p:tav tm="0">
                                          <p:val>
                                            <p:strVal val="ppt_y"/>
                                          </p:val>
                                        </p:tav>
                                        <p:tav tm="100000">
                                          <p:val>
                                            <p:strVal val="ppt_y"/>
                                          </p:val>
                                        </p:tav>
                                      </p:tavLst>
                                    </p:anim>
                                    <p:set>
                                      <p:cBhvr>
                                        <p:cTn id="8" dur="1" fill="hold">
                                          <p:stCondLst>
                                            <p:cond delay="499"/>
                                          </p:stCondLst>
                                        </p:cTn>
                                        <p:tgtEl>
                                          <p:spTgt spid="2"/>
                                        </p:tgtEl>
                                        <p:attrNameLst>
                                          <p:attrName>style.visibility</p:attrName>
                                        </p:attrNameLst>
                                      </p:cBhvr>
                                      <p:to>
                                        <p:strVal val="hidden"/>
                                      </p:to>
                                    </p:set>
                                  </p:childTnLst>
                                </p:cTn>
                              </p:par>
                              <p:par>
                                <p:cTn id="9" presetID="42" presetClass="path" presetSubtype="0" accel="50000" decel="50000" fill="hold" grpId="0" nodeType="withEffect">
                                  <p:stCondLst>
                                    <p:cond delay="0"/>
                                  </p:stCondLst>
                                  <p:childTnLst>
                                    <p:animMotion origin="layout" path="M 2.91667E-6 3.7037E-7 L -0.75 0.38356 " pathEditMode="relative" rAng="0" ptsTypes="AA">
                                      <p:cBhvr>
                                        <p:cTn id="10" dur="1000" fill="hold"/>
                                        <p:tgtEl>
                                          <p:spTgt spid="21"/>
                                        </p:tgtEl>
                                        <p:attrNameLst>
                                          <p:attrName>ppt_x</p:attrName>
                                          <p:attrName>ppt_y</p:attrName>
                                        </p:attrNameLst>
                                      </p:cBhvr>
                                      <p:rCtr x="-37500" y="19167"/>
                                    </p:animMotion>
                                  </p:childTnLst>
                                </p:cTn>
                              </p:par>
                            </p:childTnLst>
                          </p:cTn>
                        </p:par>
                        <p:par>
                          <p:cTn id="11" fill="hold">
                            <p:stCondLst>
                              <p:cond delay="1000"/>
                            </p:stCondLst>
                            <p:childTnLst>
                              <p:par>
                                <p:cTn id="12" presetID="10" presetClass="entr" presetSubtype="0" fill="hold" nodeType="after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par>
                                <p:cTn id="15" presetID="10" presetClass="entr" presetSubtype="0" fill="hold" nodeType="withEffect">
                                  <p:stCondLst>
                                    <p:cond delay="0"/>
                                  </p:stCondLst>
                                  <p:childTnLst>
                                    <p:set>
                                      <p:cBhvr>
                                        <p:cTn id="16" dur="1" fill="hold">
                                          <p:stCondLst>
                                            <p:cond delay="0"/>
                                          </p:stCondLst>
                                        </p:cTn>
                                        <p:tgtEl>
                                          <p:spTgt spid="68"/>
                                        </p:tgtEl>
                                        <p:attrNameLst>
                                          <p:attrName>style.visibility</p:attrName>
                                        </p:attrNameLst>
                                      </p:cBhvr>
                                      <p:to>
                                        <p:strVal val="visible"/>
                                      </p:to>
                                    </p:set>
                                    <p:animEffect transition="in" filter="fade">
                                      <p:cBhvr>
                                        <p:cTn id="17" dur="500"/>
                                        <p:tgtEl>
                                          <p:spTgt spid="68"/>
                                        </p:tgtEl>
                                      </p:cBhvr>
                                    </p:animEffect>
                                  </p:childTnLst>
                                </p:cTn>
                              </p:par>
                              <p:par>
                                <p:cTn id="18" presetID="10" presetClass="entr" presetSubtype="0" fill="hold" nodeType="withEffect">
                                  <p:stCondLst>
                                    <p:cond delay="0"/>
                                  </p:stCondLst>
                                  <p:childTnLst>
                                    <p:set>
                                      <p:cBhvr>
                                        <p:cTn id="19" dur="1" fill="hold">
                                          <p:stCondLst>
                                            <p:cond delay="0"/>
                                          </p:stCondLst>
                                        </p:cTn>
                                        <p:tgtEl>
                                          <p:spTgt spid="69"/>
                                        </p:tgtEl>
                                        <p:attrNameLst>
                                          <p:attrName>style.visibility</p:attrName>
                                        </p:attrNameLst>
                                      </p:cBhvr>
                                      <p:to>
                                        <p:strVal val="visible"/>
                                      </p:to>
                                    </p:set>
                                    <p:animEffect transition="in" filter="fade">
                                      <p:cBhvr>
                                        <p:cTn id="20"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sp>
        <p:nvSpPr>
          <p:cNvPr id="21" name="Title 1">
            <a:extLst>
              <a:ext uri="{FF2B5EF4-FFF2-40B4-BE49-F238E27FC236}">
                <a16:creationId xmlns:a16="http://schemas.microsoft.com/office/drawing/2014/main" id="{41C4D9DA-1CB1-444F-9329-3D5CA74663CA}"/>
              </a:ext>
            </a:extLst>
          </p:cNvPr>
          <p:cNvSpPr txBox="1">
            <a:spLocks/>
          </p:cNvSpPr>
          <p:nvPr/>
        </p:nvSpPr>
        <p:spPr>
          <a:xfrm>
            <a:off x="2033306" y="5265165"/>
            <a:ext cx="9144000" cy="138840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SG" sz="9600" dirty="0">
                <a:solidFill>
                  <a:schemeClr val="tx1">
                    <a:lumMod val="50000"/>
                    <a:lumOff val="50000"/>
                  </a:schemeClr>
                </a:solidFill>
                <a:latin typeface="Bebas Neue" panose="020B0606020202050201" pitchFamily="34" charset="0"/>
              </a:rPr>
              <a:t>3 MACHINES, 1 SYSTEM </a:t>
            </a:r>
          </a:p>
        </p:txBody>
      </p:sp>
      <p:grpSp>
        <p:nvGrpSpPr>
          <p:cNvPr id="16" name="Silos" descr="{&quot;Key&quot;:&quot;POWER_USER_SHAPE_ICON&quot;,&quot;Value&quot;:&quot;POWER_USER_SHAPE_ICON_STYLE_1&quot;}">
            <a:extLst>
              <a:ext uri="{FF2B5EF4-FFF2-40B4-BE49-F238E27FC236}">
                <a16:creationId xmlns:a16="http://schemas.microsoft.com/office/drawing/2014/main" id="{A660F0E6-8D66-426C-BA24-5F5946774B8E}"/>
              </a:ext>
            </a:extLst>
          </p:cNvPr>
          <p:cNvGrpSpPr>
            <a:grpSpLocks noChangeAspect="1"/>
          </p:cNvGrpSpPr>
          <p:nvPr>
            <p:custDataLst>
              <p:tags r:id="rId1"/>
            </p:custDataLst>
          </p:nvPr>
        </p:nvGrpSpPr>
        <p:grpSpPr>
          <a:xfrm>
            <a:off x="1364880" y="2481881"/>
            <a:ext cx="2680440" cy="1845232"/>
            <a:chOff x="3770313" y="2092325"/>
            <a:chExt cx="657225" cy="452438"/>
          </a:xfrm>
          <a:solidFill>
            <a:schemeClr val="bg1">
              <a:lumMod val="65000"/>
            </a:schemeClr>
          </a:solidFill>
        </p:grpSpPr>
        <p:sp>
          <p:nvSpPr>
            <p:cNvPr id="17" name="Freeform 1352">
              <a:extLst>
                <a:ext uri="{FF2B5EF4-FFF2-40B4-BE49-F238E27FC236}">
                  <a16:creationId xmlns:a16="http://schemas.microsoft.com/office/drawing/2014/main" id="{8465209F-D17E-4906-8388-7D2DBC86A9FA}"/>
                </a:ext>
              </a:extLst>
            </p:cNvPr>
            <p:cNvSpPr>
              <a:spLocks noEditPoints="1"/>
            </p:cNvSpPr>
            <p:nvPr/>
          </p:nvSpPr>
          <p:spPr bwMode="auto">
            <a:xfrm>
              <a:off x="3778251" y="2130425"/>
              <a:ext cx="298450" cy="414338"/>
            </a:xfrm>
            <a:custGeom>
              <a:avLst/>
              <a:gdLst>
                <a:gd name="T0" fmla="*/ 283 w 4233"/>
                <a:gd name="T1" fmla="*/ 5558 h 5841"/>
                <a:gd name="T2" fmla="*/ 3950 w 4233"/>
                <a:gd name="T3" fmla="*/ 5558 h 5841"/>
                <a:gd name="T4" fmla="*/ 3950 w 4233"/>
                <a:gd name="T5" fmla="*/ 1738 h 5841"/>
                <a:gd name="T6" fmla="*/ 3897 w 4233"/>
                <a:gd name="T7" fmla="*/ 1711 h 5841"/>
                <a:gd name="T8" fmla="*/ 2223 w 4233"/>
                <a:gd name="T9" fmla="*/ 331 h 5841"/>
                <a:gd name="T10" fmla="*/ 293 w 4233"/>
                <a:gd name="T11" fmla="*/ 1714 h 5841"/>
                <a:gd name="T12" fmla="*/ 283 w 4233"/>
                <a:gd name="T13" fmla="*/ 1721 h 5841"/>
                <a:gd name="T14" fmla="*/ 283 w 4233"/>
                <a:gd name="T15" fmla="*/ 5558 h 5841"/>
                <a:gd name="T16" fmla="*/ 4091 w 4233"/>
                <a:gd name="T17" fmla="*/ 5841 h 5841"/>
                <a:gd name="T18" fmla="*/ 141 w 4233"/>
                <a:gd name="T19" fmla="*/ 5841 h 5841"/>
                <a:gd name="T20" fmla="*/ 0 w 4233"/>
                <a:gd name="T21" fmla="*/ 5699 h 5841"/>
                <a:gd name="T22" fmla="*/ 0 w 4233"/>
                <a:gd name="T23" fmla="*/ 1599 h 5841"/>
                <a:gd name="T24" fmla="*/ 141 w 4233"/>
                <a:gd name="T25" fmla="*/ 1457 h 5841"/>
                <a:gd name="T26" fmla="*/ 165 w 4233"/>
                <a:gd name="T27" fmla="*/ 1457 h 5841"/>
                <a:gd name="T28" fmla="*/ 2146 w 4233"/>
                <a:gd name="T29" fmla="*/ 38 h 5841"/>
                <a:gd name="T30" fmla="*/ 2319 w 4233"/>
                <a:gd name="T31" fmla="*/ 43 h 5841"/>
                <a:gd name="T32" fmla="*/ 4033 w 4233"/>
                <a:gd name="T33" fmla="*/ 1456 h 5841"/>
                <a:gd name="T34" fmla="*/ 4081 w 4233"/>
                <a:gd name="T35" fmla="*/ 1452 h 5841"/>
                <a:gd name="T36" fmla="*/ 4188 w 4233"/>
                <a:gd name="T37" fmla="*/ 1489 h 5841"/>
                <a:gd name="T38" fmla="*/ 4233 w 4233"/>
                <a:gd name="T39" fmla="*/ 1593 h 5841"/>
                <a:gd name="T40" fmla="*/ 4233 w 4233"/>
                <a:gd name="T41" fmla="*/ 5699 h 5841"/>
                <a:gd name="T42" fmla="*/ 4091 w 4233"/>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3" h="5841">
                  <a:moveTo>
                    <a:pt x="283" y="5558"/>
                  </a:moveTo>
                  <a:lnTo>
                    <a:pt x="3950" y="5558"/>
                  </a:lnTo>
                  <a:lnTo>
                    <a:pt x="3950" y="1738"/>
                  </a:lnTo>
                  <a:cubicBezTo>
                    <a:pt x="3931" y="1732"/>
                    <a:pt x="3913" y="1723"/>
                    <a:pt x="3897" y="1711"/>
                  </a:cubicBezTo>
                  <a:lnTo>
                    <a:pt x="2223" y="331"/>
                  </a:lnTo>
                  <a:lnTo>
                    <a:pt x="293" y="1714"/>
                  </a:lnTo>
                  <a:cubicBezTo>
                    <a:pt x="290" y="1716"/>
                    <a:pt x="286" y="1719"/>
                    <a:pt x="283" y="1721"/>
                  </a:cubicBezTo>
                  <a:lnTo>
                    <a:pt x="283" y="5558"/>
                  </a:lnTo>
                  <a:close/>
                  <a:moveTo>
                    <a:pt x="4091" y="5841"/>
                  </a:moveTo>
                  <a:lnTo>
                    <a:pt x="141" y="5841"/>
                  </a:lnTo>
                  <a:cubicBezTo>
                    <a:pt x="63" y="5841"/>
                    <a:pt x="0" y="5777"/>
                    <a:pt x="0" y="5699"/>
                  </a:cubicBezTo>
                  <a:lnTo>
                    <a:pt x="0" y="1599"/>
                  </a:lnTo>
                  <a:cubicBezTo>
                    <a:pt x="0" y="1521"/>
                    <a:pt x="63" y="1457"/>
                    <a:pt x="141" y="1457"/>
                  </a:cubicBezTo>
                  <a:lnTo>
                    <a:pt x="165" y="1457"/>
                  </a:lnTo>
                  <a:lnTo>
                    <a:pt x="2146" y="38"/>
                  </a:lnTo>
                  <a:cubicBezTo>
                    <a:pt x="2198" y="0"/>
                    <a:pt x="2269" y="2"/>
                    <a:pt x="2319" y="43"/>
                  </a:cubicBezTo>
                  <a:lnTo>
                    <a:pt x="4033" y="1456"/>
                  </a:lnTo>
                  <a:lnTo>
                    <a:pt x="4081" y="1452"/>
                  </a:lnTo>
                  <a:cubicBezTo>
                    <a:pt x="4120" y="1449"/>
                    <a:pt x="4159" y="1463"/>
                    <a:pt x="4188" y="1489"/>
                  </a:cubicBezTo>
                  <a:cubicBezTo>
                    <a:pt x="4217" y="1516"/>
                    <a:pt x="4233" y="1554"/>
                    <a:pt x="4233" y="1593"/>
                  </a:cubicBezTo>
                  <a:lnTo>
                    <a:pt x="4233" y="5699"/>
                  </a:lnTo>
                  <a:cubicBezTo>
                    <a:pt x="4233" y="5777"/>
                    <a:pt x="4170" y="5841"/>
                    <a:pt x="4091"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1353">
              <a:extLst>
                <a:ext uri="{FF2B5EF4-FFF2-40B4-BE49-F238E27FC236}">
                  <a16:creationId xmlns:a16="http://schemas.microsoft.com/office/drawing/2014/main" id="{B3947A32-4347-46E3-BD27-7065C0C189CF}"/>
                </a:ext>
              </a:extLst>
            </p:cNvPr>
            <p:cNvSpPr>
              <a:spLocks/>
            </p:cNvSpPr>
            <p:nvPr/>
          </p:nvSpPr>
          <p:spPr bwMode="auto">
            <a:xfrm>
              <a:off x="37703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354">
              <a:extLst>
                <a:ext uri="{FF2B5EF4-FFF2-40B4-BE49-F238E27FC236}">
                  <a16:creationId xmlns:a16="http://schemas.microsoft.com/office/drawing/2014/main" id="{E891ADF3-F4E2-443D-8B47-B3075C801F97}"/>
                </a:ext>
              </a:extLst>
            </p:cNvPr>
            <p:cNvSpPr>
              <a:spLocks noEditPoints="1"/>
            </p:cNvSpPr>
            <p:nvPr/>
          </p:nvSpPr>
          <p:spPr bwMode="auto">
            <a:xfrm>
              <a:off x="4121151" y="2130425"/>
              <a:ext cx="300038" cy="414338"/>
            </a:xfrm>
            <a:custGeom>
              <a:avLst/>
              <a:gdLst>
                <a:gd name="T0" fmla="*/ 284 w 4234"/>
                <a:gd name="T1" fmla="*/ 5557 h 5841"/>
                <a:gd name="T2" fmla="*/ 3950 w 4234"/>
                <a:gd name="T3" fmla="*/ 5557 h 5841"/>
                <a:gd name="T4" fmla="*/ 3950 w 4234"/>
                <a:gd name="T5" fmla="*/ 1739 h 5841"/>
                <a:gd name="T6" fmla="*/ 3894 w 4234"/>
                <a:gd name="T7" fmla="*/ 1711 h 5841"/>
                <a:gd name="T8" fmla="*/ 2216 w 4234"/>
                <a:gd name="T9" fmla="*/ 331 h 5841"/>
                <a:gd name="T10" fmla="*/ 286 w 4234"/>
                <a:gd name="T11" fmla="*/ 1715 h 5841"/>
                <a:gd name="T12" fmla="*/ 284 w 4234"/>
                <a:gd name="T13" fmla="*/ 1716 h 5841"/>
                <a:gd name="T14" fmla="*/ 284 w 4234"/>
                <a:gd name="T15" fmla="*/ 5557 h 5841"/>
                <a:gd name="T16" fmla="*/ 4092 w 4234"/>
                <a:gd name="T17" fmla="*/ 5841 h 5841"/>
                <a:gd name="T18" fmla="*/ 142 w 4234"/>
                <a:gd name="T19" fmla="*/ 5841 h 5841"/>
                <a:gd name="T20" fmla="*/ 0 w 4234"/>
                <a:gd name="T21" fmla="*/ 5700 h 5841"/>
                <a:gd name="T22" fmla="*/ 0 w 4234"/>
                <a:gd name="T23" fmla="*/ 1599 h 5841"/>
                <a:gd name="T24" fmla="*/ 142 w 4234"/>
                <a:gd name="T25" fmla="*/ 1458 h 5841"/>
                <a:gd name="T26" fmla="*/ 158 w 4234"/>
                <a:gd name="T27" fmla="*/ 1458 h 5841"/>
                <a:gd name="T28" fmla="*/ 2139 w 4234"/>
                <a:gd name="T29" fmla="*/ 37 h 5841"/>
                <a:gd name="T30" fmla="*/ 2312 w 4234"/>
                <a:gd name="T31" fmla="*/ 43 h 5841"/>
                <a:gd name="T32" fmla="*/ 4030 w 4234"/>
                <a:gd name="T33" fmla="*/ 1456 h 5841"/>
                <a:gd name="T34" fmla="*/ 4082 w 4234"/>
                <a:gd name="T35" fmla="*/ 1452 h 5841"/>
                <a:gd name="T36" fmla="*/ 4189 w 4234"/>
                <a:gd name="T37" fmla="*/ 1490 h 5841"/>
                <a:gd name="T38" fmla="*/ 4234 w 4234"/>
                <a:gd name="T39" fmla="*/ 1594 h 5841"/>
                <a:gd name="T40" fmla="*/ 4234 w 4234"/>
                <a:gd name="T41" fmla="*/ 5700 h 5841"/>
                <a:gd name="T42" fmla="*/ 4092 w 4234"/>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4" h="5841">
                  <a:moveTo>
                    <a:pt x="284" y="5557"/>
                  </a:moveTo>
                  <a:lnTo>
                    <a:pt x="3950" y="5557"/>
                  </a:lnTo>
                  <a:lnTo>
                    <a:pt x="3950" y="1739"/>
                  </a:lnTo>
                  <a:cubicBezTo>
                    <a:pt x="3930" y="1734"/>
                    <a:pt x="3911" y="1724"/>
                    <a:pt x="3894" y="1711"/>
                  </a:cubicBezTo>
                  <a:lnTo>
                    <a:pt x="2216" y="331"/>
                  </a:lnTo>
                  <a:lnTo>
                    <a:pt x="286" y="1715"/>
                  </a:lnTo>
                  <a:cubicBezTo>
                    <a:pt x="285" y="1715"/>
                    <a:pt x="285" y="1715"/>
                    <a:pt x="284" y="1716"/>
                  </a:cubicBezTo>
                  <a:lnTo>
                    <a:pt x="284" y="5557"/>
                  </a:lnTo>
                  <a:close/>
                  <a:moveTo>
                    <a:pt x="4092" y="5841"/>
                  </a:moveTo>
                  <a:lnTo>
                    <a:pt x="142" y="5841"/>
                  </a:lnTo>
                  <a:cubicBezTo>
                    <a:pt x="64" y="5841"/>
                    <a:pt x="0" y="5778"/>
                    <a:pt x="0" y="5700"/>
                  </a:cubicBezTo>
                  <a:lnTo>
                    <a:pt x="0" y="1599"/>
                  </a:lnTo>
                  <a:cubicBezTo>
                    <a:pt x="0" y="1521"/>
                    <a:pt x="64" y="1458"/>
                    <a:pt x="142" y="1458"/>
                  </a:cubicBezTo>
                  <a:lnTo>
                    <a:pt x="158" y="1458"/>
                  </a:lnTo>
                  <a:lnTo>
                    <a:pt x="2139" y="37"/>
                  </a:lnTo>
                  <a:cubicBezTo>
                    <a:pt x="2192" y="0"/>
                    <a:pt x="2262" y="3"/>
                    <a:pt x="2312" y="43"/>
                  </a:cubicBezTo>
                  <a:lnTo>
                    <a:pt x="4030" y="1456"/>
                  </a:lnTo>
                  <a:lnTo>
                    <a:pt x="4082" y="1452"/>
                  </a:lnTo>
                  <a:cubicBezTo>
                    <a:pt x="4121" y="1449"/>
                    <a:pt x="4160" y="1463"/>
                    <a:pt x="4189" y="1490"/>
                  </a:cubicBezTo>
                  <a:cubicBezTo>
                    <a:pt x="4217" y="1517"/>
                    <a:pt x="4234" y="1554"/>
                    <a:pt x="4234" y="1594"/>
                  </a:cubicBezTo>
                  <a:lnTo>
                    <a:pt x="4234" y="5700"/>
                  </a:lnTo>
                  <a:cubicBezTo>
                    <a:pt x="4234" y="5778"/>
                    <a:pt x="4170" y="5841"/>
                    <a:pt x="4092"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1355">
              <a:extLst>
                <a:ext uri="{FF2B5EF4-FFF2-40B4-BE49-F238E27FC236}">
                  <a16:creationId xmlns:a16="http://schemas.microsoft.com/office/drawing/2014/main" id="{6D86136E-D11A-4610-AABA-D339EFD392C7}"/>
                </a:ext>
              </a:extLst>
            </p:cNvPr>
            <p:cNvSpPr>
              <a:spLocks/>
            </p:cNvSpPr>
            <p:nvPr/>
          </p:nvSpPr>
          <p:spPr bwMode="auto">
            <a:xfrm>
              <a:off x="41132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1356">
              <a:extLst>
                <a:ext uri="{FF2B5EF4-FFF2-40B4-BE49-F238E27FC236}">
                  <a16:creationId xmlns:a16="http://schemas.microsoft.com/office/drawing/2014/main" id="{85922CBA-A45A-4755-A90C-B883ADDF4C55}"/>
                </a:ext>
              </a:extLst>
            </p:cNvPr>
            <p:cNvSpPr>
              <a:spLocks/>
            </p:cNvSpPr>
            <p:nvPr/>
          </p:nvSpPr>
          <p:spPr bwMode="auto">
            <a:xfrm>
              <a:off x="3924301" y="2093913"/>
              <a:ext cx="20638" cy="57150"/>
            </a:xfrm>
            <a:custGeom>
              <a:avLst/>
              <a:gdLst>
                <a:gd name="T0" fmla="*/ 142 w 283"/>
                <a:gd name="T1" fmla="*/ 800 h 800"/>
                <a:gd name="T2" fmla="*/ 0 w 283"/>
                <a:gd name="T3" fmla="*/ 658 h 800"/>
                <a:gd name="T4" fmla="*/ 0 w 283"/>
                <a:gd name="T5" fmla="*/ 141 h 800"/>
                <a:gd name="T6" fmla="*/ 142 w 283"/>
                <a:gd name="T7" fmla="*/ 0 h 800"/>
                <a:gd name="T8" fmla="*/ 283 w 283"/>
                <a:gd name="T9" fmla="*/ 141 h 800"/>
                <a:gd name="T10" fmla="*/ 283 w 283"/>
                <a:gd name="T11" fmla="*/ 658 h 800"/>
                <a:gd name="T12" fmla="*/ 142 w 283"/>
                <a:gd name="T13" fmla="*/ 800 h 800"/>
              </a:gdLst>
              <a:ahLst/>
              <a:cxnLst>
                <a:cxn ang="0">
                  <a:pos x="T0" y="T1"/>
                </a:cxn>
                <a:cxn ang="0">
                  <a:pos x="T2" y="T3"/>
                </a:cxn>
                <a:cxn ang="0">
                  <a:pos x="T4" y="T5"/>
                </a:cxn>
                <a:cxn ang="0">
                  <a:pos x="T6" y="T7"/>
                </a:cxn>
                <a:cxn ang="0">
                  <a:pos x="T8" y="T9"/>
                </a:cxn>
                <a:cxn ang="0">
                  <a:pos x="T10" y="T11"/>
                </a:cxn>
                <a:cxn ang="0">
                  <a:pos x="T12" y="T13"/>
                </a:cxn>
              </a:cxnLst>
              <a:rect l="0" t="0" r="r" b="b"/>
              <a:pathLst>
                <a:path w="283" h="800">
                  <a:moveTo>
                    <a:pt x="142" y="800"/>
                  </a:moveTo>
                  <a:cubicBezTo>
                    <a:pt x="64" y="800"/>
                    <a:pt x="0" y="736"/>
                    <a:pt x="0" y="658"/>
                  </a:cubicBezTo>
                  <a:lnTo>
                    <a:pt x="0" y="141"/>
                  </a:lnTo>
                  <a:cubicBezTo>
                    <a:pt x="0" y="63"/>
                    <a:pt x="64" y="0"/>
                    <a:pt x="142" y="0"/>
                  </a:cubicBezTo>
                  <a:cubicBezTo>
                    <a:pt x="220" y="0"/>
                    <a:pt x="283" y="63"/>
                    <a:pt x="283" y="141"/>
                  </a:cubicBezTo>
                  <a:lnTo>
                    <a:pt x="283" y="658"/>
                  </a:lnTo>
                  <a:cubicBezTo>
                    <a:pt x="283" y="736"/>
                    <a:pt x="220" y="800"/>
                    <a:pt x="142" y="8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1357">
              <a:extLst>
                <a:ext uri="{FF2B5EF4-FFF2-40B4-BE49-F238E27FC236}">
                  <a16:creationId xmlns:a16="http://schemas.microsoft.com/office/drawing/2014/main" id="{82B6E3EB-E620-409B-A83B-1A935582FF66}"/>
                </a:ext>
              </a:extLst>
            </p:cNvPr>
            <p:cNvSpPr>
              <a:spLocks/>
            </p:cNvSpPr>
            <p:nvPr/>
          </p:nvSpPr>
          <p:spPr bwMode="auto">
            <a:xfrm>
              <a:off x="4267201" y="2098675"/>
              <a:ext cx="20638" cy="52388"/>
            </a:xfrm>
            <a:custGeom>
              <a:avLst/>
              <a:gdLst>
                <a:gd name="T0" fmla="*/ 142 w 283"/>
                <a:gd name="T1" fmla="*/ 734 h 734"/>
                <a:gd name="T2" fmla="*/ 0 w 283"/>
                <a:gd name="T3" fmla="*/ 592 h 734"/>
                <a:gd name="T4" fmla="*/ 0 w 283"/>
                <a:gd name="T5" fmla="*/ 142 h 734"/>
                <a:gd name="T6" fmla="*/ 142 w 283"/>
                <a:gd name="T7" fmla="*/ 0 h 734"/>
                <a:gd name="T8" fmla="*/ 283 w 283"/>
                <a:gd name="T9" fmla="*/ 142 h 734"/>
                <a:gd name="T10" fmla="*/ 283 w 283"/>
                <a:gd name="T11" fmla="*/ 592 h 734"/>
                <a:gd name="T12" fmla="*/ 142 w 283"/>
                <a:gd name="T13" fmla="*/ 734 h 734"/>
              </a:gdLst>
              <a:ahLst/>
              <a:cxnLst>
                <a:cxn ang="0">
                  <a:pos x="T0" y="T1"/>
                </a:cxn>
                <a:cxn ang="0">
                  <a:pos x="T2" y="T3"/>
                </a:cxn>
                <a:cxn ang="0">
                  <a:pos x="T4" y="T5"/>
                </a:cxn>
                <a:cxn ang="0">
                  <a:pos x="T6" y="T7"/>
                </a:cxn>
                <a:cxn ang="0">
                  <a:pos x="T8" y="T9"/>
                </a:cxn>
                <a:cxn ang="0">
                  <a:pos x="T10" y="T11"/>
                </a:cxn>
                <a:cxn ang="0">
                  <a:pos x="T12" y="T13"/>
                </a:cxn>
              </a:cxnLst>
              <a:rect l="0" t="0" r="r" b="b"/>
              <a:pathLst>
                <a:path w="283" h="734">
                  <a:moveTo>
                    <a:pt x="142" y="734"/>
                  </a:moveTo>
                  <a:cubicBezTo>
                    <a:pt x="64" y="734"/>
                    <a:pt x="0" y="670"/>
                    <a:pt x="0" y="592"/>
                  </a:cubicBezTo>
                  <a:lnTo>
                    <a:pt x="0" y="142"/>
                  </a:lnTo>
                  <a:cubicBezTo>
                    <a:pt x="0" y="64"/>
                    <a:pt x="64" y="0"/>
                    <a:pt x="142" y="0"/>
                  </a:cubicBezTo>
                  <a:cubicBezTo>
                    <a:pt x="220" y="0"/>
                    <a:pt x="283" y="64"/>
                    <a:pt x="283" y="142"/>
                  </a:cubicBezTo>
                  <a:lnTo>
                    <a:pt x="283" y="592"/>
                  </a:lnTo>
                  <a:cubicBezTo>
                    <a:pt x="283" y="670"/>
                    <a:pt x="220" y="734"/>
                    <a:pt x="142" y="7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1358">
              <a:extLst>
                <a:ext uri="{FF2B5EF4-FFF2-40B4-BE49-F238E27FC236}">
                  <a16:creationId xmlns:a16="http://schemas.microsoft.com/office/drawing/2014/main" id="{40A22314-935E-44D8-B7B8-8FD169FF1B11}"/>
                </a:ext>
              </a:extLst>
            </p:cNvPr>
            <p:cNvSpPr>
              <a:spLocks/>
            </p:cNvSpPr>
            <p:nvPr/>
          </p:nvSpPr>
          <p:spPr bwMode="auto">
            <a:xfrm>
              <a:off x="3924301" y="2092325"/>
              <a:ext cx="363538" cy="20638"/>
            </a:xfrm>
            <a:custGeom>
              <a:avLst/>
              <a:gdLst>
                <a:gd name="T0" fmla="*/ 4991 w 5133"/>
                <a:gd name="T1" fmla="*/ 283 h 283"/>
                <a:gd name="T2" fmla="*/ 141 w 5133"/>
                <a:gd name="T3" fmla="*/ 283 h 283"/>
                <a:gd name="T4" fmla="*/ 0 w 5133"/>
                <a:gd name="T5" fmla="*/ 141 h 283"/>
                <a:gd name="T6" fmla="*/ 141 w 5133"/>
                <a:gd name="T7" fmla="*/ 0 h 283"/>
                <a:gd name="T8" fmla="*/ 4991 w 5133"/>
                <a:gd name="T9" fmla="*/ 0 h 283"/>
                <a:gd name="T10" fmla="*/ 5133 w 5133"/>
                <a:gd name="T11" fmla="*/ 141 h 283"/>
                <a:gd name="T12" fmla="*/ 4991 w 5133"/>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5133" h="283">
                  <a:moveTo>
                    <a:pt x="4991" y="283"/>
                  </a:moveTo>
                  <a:lnTo>
                    <a:pt x="141" y="283"/>
                  </a:lnTo>
                  <a:cubicBezTo>
                    <a:pt x="63" y="283"/>
                    <a:pt x="0" y="220"/>
                    <a:pt x="0" y="141"/>
                  </a:cubicBezTo>
                  <a:cubicBezTo>
                    <a:pt x="0" y="63"/>
                    <a:pt x="63" y="0"/>
                    <a:pt x="141" y="0"/>
                  </a:cubicBezTo>
                  <a:lnTo>
                    <a:pt x="4991" y="0"/>
                  </a:lnTo>
                  <a:cubicBezTo>
                    <a:pt x="5070" y="0"/>
                    <a:pt x="5133" y="63"/>
                    <a:pt x="5133" y="141"/>
                  </a:cubicBezTo>
                  <a:cubicBezTo>
                    <a:pt x="5133" y="220"/>
                    <a:pt x="5070" y="283"/>
                    <a:pt x="4991"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1359">
              <a:extLst>
                <a:ext uri="{FF2B5EF4-FFF2-40B4-BE49-F238E27FC236}">
                  <a16:creationId xmlns:a16="http://schemas.microsoft.com/office/drawing/2014/main" id="{F1294902-46A0-419F-BBD2-5F1CBAC0354D}"/>
                </a:ext>
              </a:extLst>
            </p:cNvPr>
            <p:cNvSpPr>
              <a:spLocks/>
            </p:cNvSpPr>
            <p:nvPr/>
          </p:nvSpPr>
          <p:spPr bwMode="auto">
            <a:xfrm>
              <a:off x="3829051"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1360">
              <a:extLst>
                <a:ext uri="{FF2B5EF4-FFF2-40B4-BE49-F238E27FC236}">
                  <a16:creationId xmlns:a16="http://schemas.microsoft.com/office/drawing/2014/main" id="{8B560E4A-45D2-4A32-89F2-0DB6860F0435}"/>
                </a:ext>
              </a:extLst>
            </p:cNvPr>
            <p:cNvSpPr>
              <a:spLocks/>
            </p:cNvSpPr>
            <p:nvPr/>
          </p:nvSpPr>
          <p:spPr bwMode="auto">
            <a:xfrm>
              <a:off x="3884613"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1361">
              <a:extLst>
                <a:ext uri="{FF2B5EF4-FFF2-40B4-BE49-F238E27FC236}">
                  <a16:creationId xmlns:a16="http://schemas.microsoft.com/office/drawing/2014/main" id="{95BB8ED4-B7A8-4AF3-B67E-74F065B28266}"/>
                </a:ext>
              </a:extLst>
            </p:cNvPr>
            <p:cNvSpPr>
              <a:spLocks/>
            </p:cNvSpPr>
            <p:nvPr/>
          </p:nvSpPr>
          <p:spPr bwMode="auto">
            <a:xfrm>
              <a:off x="3937001"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1362">
              <a:extLst>
                <a:ext uri="{FF2B5EF4-FFF2-40B4-BE49-F238E27FC236}">
                  <a16:creationId xmlns:a16="http://schemas.microsoft.com/office/drawing/2014/main" id="{07F00127-D4E5-4411-B337-8ADA2397AD02}"/>
                </a:ext>
              </a:extLst>
            </p:cNvPr>
            <p:cNvSpPr>
              <a:spLocks/>
            </p:cNvSpPr>
            <p:nvPr/>
          </p:nvSpPr>
          <p:spPr bwMode="auto">
            <a:xfrm>
              <a:off x="3997326"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1363">
              <a:extLst>
                <a:ext uri="{FF2B5EF4-FFF2-40B4-BE49-F238E27FC236}">
                  <a16:creationId xmlns:a16="http://schemas.microsoft.com/office/drawing/2014/main" id="{753217C3-AEE9-47FC-9B7F-10B922A585E4}"/>
                </a:ext>
              </a:extLst>
            </p:cNvPr>
            <p:cNvSpPr>
              <a:spLocks/>
            </p:cNvSpPr>
            <p:nvPr/>
          </p:nvSpPr>
          <p:spPr bwMode="auto">
            <a:xfrm>
              <a:off x="4178301"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1364">
              <a:extLst>
                <a:ext uri="{FF2B5EF4-FFF2-40B4-BE49-F238E27FC236}">
                  <a16:creationId xmlns:a16="http://schemas.microsoft.com/office/drawing/2014/main" id="{3436D22C-232C-41B2-9B40-68E34A37AB17}"/>
                </a:ext>
              </a:extLst>
            </p:cNvPr>
            <p:cNvSpPr>
              <a:spLocks/>
            </p:cNvSpPr>
            <p:nvPr/>
          </p:nvSpPr>
          <p:spPr bwMode="auto">
            <a:xfrm>
              <a:off x="4233863"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1365">
              <a:extLst>
                <a:ext uri="{FF2B5EF4-FFF2-40B4-BE49-F238E27FC236}">
                  <a16:creationId xmlns:a16="http://schemas.microsoft.com/office/drawing/2014/main" id="{3F7C0D44-1F1E-4629-AD0D-22E30E7D6AAE}"/>
                </a:ext>
              </a:extLst>
            </p:cNvPr>
            <p:cNvSpPr>
              <a:spLocks/>
            </p:cNvSpPr>
            <p:nvPr/>
          </p:nvSpPr>
          <p:spPr bwMode="auto">
            <a:xfrm>
              <a:off x="4286251" y="2293938"/>
              <a:ext cx="19050"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1366">
              <a:extLst>
                <a:ext uri="{FF2B5EF4-FFF2-40B4-BE49-F238E27FC236}">
                  <a16:creationId xmlns:a16="http://schemas.microsoft.com/office/drawing/2014/main" id="{7038D836-C8E8-4595-9789-0B5EB8DF3F1E}"/>
                </a:ext>
              </a:extLst>
            </p:cNvPr>
            <p:cNvSpPr>
              <a:spLocks/>
            </p:cNvSpPr>
            <p:nvPr/>
          </p:nvSpPr>
          <p:spPr bwMode="auto">
            <a:xfrm>
              <a:off x="4344988"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 name="TextBox 11">
            <a:extLst>
              <a:ext uri="{FF2B5EF4-FFF2-40B4-BE49-F238E27FC236}">
                <a16:creationId xmlns:a16="http://schemas.microsoft.com/office/drawing/2014/main" id="{81960B73-AF41-4791-803C-E6D0D3BAB48F}"/>
              </a:ext>
            </a:extLst>
          </p:cNvPr>
          <p:cNvSpPr txBox="1"/>
          <p:nvPr/>
        </p:nvSpPr>
        <p:spPr>
          <a:xfrm>
            <a:off x="1397255" y="4473677"/>
            <a:ext cx="2545480" cy="523220"/>
          </a:xfrm>
          <a:prstGeom prst="rect">
            <a:avLst/>
          </a:prstGeom>
          <a:noFill/>
        </p:spPr>
        <p:txBody>
          <a:bodyPr wrap="square" rtlCol="0">
            <a:spAutoFit/>
          </a:bodyPr>
          <a:lstStyle/>
          <a:p>
            <a:pPr algn="ctr"/>
            <a:r>
              <a:rPr lang="en-SG" sz="2800" dirty="0">
                <a:solidFill>
                  <a:schemeClr val="bg1"/>
                </a:solidFill>
                <a:latin typeface="Quicksand Book" panose="02070303000000060000" pitchFamily="18" charset="0"/>
              </a:rPr>
              <a:t>PHOBO</a:t>
            </a:r>
          </a:p>
        </p:txBody>
      </p:sp>
      <p:grpSp>
        <p:nvGrpSpPr>
          <p:cNvPr id="33" name="Silos" descr="{&quot;Key&quot;:&quot;POWER_USER_SHAPE_ICON&quot;,&quot;Value&quot;:&quot;POWER_USER_SHAPE_ICON_STYLE_1&quot;}">
            <a:extLst>
              <a:ext uri="{FF2B5EF4-FFF2-40B4-BE49-F238E27FC236}">
                <a16:creationId xmlns:a16="http://schemas.microsoft.com/office/drawing/2014/main" id="{763BCC65-7D4C-4676-AE8D-D4EBFFCFABD8}"/>
              </a:ext>
            </a:extLst>
          </p:cNvPr>
          <p:cNvGrpSpPr>
            <a:grpSpLocks noChangeAspect="1"/>
          </p:cNvGrpSpPr>
          <p:nvPr>
            <p:custDataLst>
              <p:tags r:id="rId2"/>
            </p:custDataLst>
          </p:nvPr>
        </p:nvGrpSpPr>
        <p:grpSpPr>
          <a:xfrm>
            <a:off x="4765924" y="2478018"/>
            <a:ext cx="2680440" cy="1845232"/>
            <a:chOff x="3770313" y="2092325"/>
            <a:chExt cx="657225" cy="452438"/>
          </a:xfrm>
          <a:solidFill>
            <a:schemeClr val="tx1">
              <a:lumMod val="65000"/>
              <a:lumOff val="35000"/>
            </a:schemeClr>
          </a:solidFill>
        </p:grpSpPr>
        <p:sp>
          <p:nvSpPr>
            <p:cNvPr id="34" name="Freeform 1352">
              <a:extLst>
                <a:ext uri="{FF2B5EF4-FFF2-40B4-BE49-F238E27FC236}">
                  <a16:creationId xmlns:a16="http://schemas.microsoft.com/office/drawing/2014/main" id="{130062A4-218C-41A6-89C6-87734ED25E9A}"/>
                </a:ext>
              </a:extLst>
            </p:cNvPr>
            <p:cNvSpPr>
              <a:spLocks noEditPoints="1"/>
            </p:cNvSpPr>
            <p:nvPr/>
          </p:nvSpPr>
          <p:spPr bwMode="auto">
            <a:xfrm>
              <a:off x="3778251" y="2130425"/>
              <a:ext cx="298450" cy="414338"/>
            </a:xfrm>
            <a:custGeom>
              <a:avLst/>
              <a:gdLst>
                <a:gd name="T0" fmla="*/ 283 w 4233"/>
                <a:gd name="T1" fmla="*/ 5558 h 5841"/>
                <a:gd name="T2" fmla="*/ 3950 w 4233"/>
                <a:gd name="T3" fmla="*/ 5558 h 5841"/>
                <a:gd name="T4" fmla="*/ 3950 w 4233"/>
                <a:gd name="T5" fmla="*/ 1738 h 5841"/>
                <a:gd name="T6" fmla="*/ 3897 w 4233"/>
                <a:gd name="T7" fmla="*/ 1711 h 5841"/>
                <a:gd name="T8" fmla="*/ 2223 w 4233"/>
                <a:gd name="T9" fmla="*/ 331 h 5841"/>
                <a:gd name="T10" fmla="*/ 293 w 4233"/>
                <a:gd name="T11" fmla="*/ 1714 h 5841"/>
                <a:gd name="T12" fmla="*/ 283 w 4233"/>
                <a:gd name="T13" fmla="*/ 1721 h 5841"/>
                <a:gd name="T14" fmla="*/ 283 w 4233"/>
                <a:gd name="T15" fmla="*/ 5558 h 5841"/>
                <a:gd name="T16" fmla="*/ 4091 w 4233"/>
                <a:gd name="T17" fmla="*/ 5841 h 5841"/>
                <a:gd name="T18" fmla="*/ 141 w 4233"/>
                <a:gd name="T19" fmla="*/ 5841 h 5841"/>
                <a:gd name="T20" fmla="*/ 0 w 4233"/>
                <a:gd name="T21" fmla="*/ 5699 h 5841"/>
                <a:gd name="T22" fmla="*/ 0 w 4233"/>
                <a:gd name="T23" fmla="*/ 1599 h 5841"/>
                <a:gd name="T24" fmla="*/ 141 w 4233"/>
                <a:gd name="T25" fmla="*/ 1457 h 5841"/>
                <a:gd name="T26" fmla="*/ 165 w 4233"/>
                <a:gd name="T27" fmla="*/ 1457 h 5841"/>
                <a:gd name="T28" fmla="*/ 2146 w 4233"/>
                <a:gd name="T29" fmla="*/ 38 h 5841"/>
                <a:gd name="T30" fmla="*/ 2319 w 4233"/>
                <a:gd name="T31" fmla="*/ 43 h 5841"/>
                <a:gd name="T32" fmla="*/ 4033 w 4233"/>
                <a:gd name="T33" fmla="*/ 1456 h 5841"/>
                <a:gd name="T34" fmla="*/ 4081 w 4233"/>
                <a:gd name="T35" fmla="*/ 1452 h 5841"/>
                <a:gd name="T36" fmla="*/ 4188 w 4233"/>
                <a:gd name="T37" fmla="*/ 1489 h 5841"/>
                <a:gd name="T38" fmla="*/ 4233 w 4233"/>
                <a:gd name="T39" fmla="*/ 1593 h 5841"/>
                <a:gd name="T40" fmla="*/ 4233 w 4233"/>
                <a:gd name="T41" fmla="*/ 5699 h 5841"/>
                <a:gd name="T42" fmla="*/ 4091 w 4233"/>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3" h="5841">
                  <a:moveTo>
                    <a:pt x="283" y="5558"/>
                  </a:moveTo>
                  <a:lnTo>
                    <a:pt x="3950" y="5558"/>
                  </a:lnTo>
                  <a:lnTo>
                    <a:pt x="3950" y="1738"/>
                  </a:lnTo>
                  <a:cubicBezTo>
                    <a:pt x="3931" y="1732"/>
                    <a:pt x="3913" y="1723"/>
                    <a:pt x="3897" y="1711"/>
                  </a:cubicBezTo>
                  <a:lnTo>
                    <a:pt x="2223" y="331"/>
                  </a:lnTo>
                  <a:lnTo>
                    <a:pt x="293" y="1714"/>
                  </a:lnTo>
                  <a:cubicBezTo>
                    <a:pt x="290" y="1716"/>
                    <a:pt x="286" y="1719"/>
                    <a:pt x="283" y="1721"/>
                  </a:cubicBezTo>
                  <a:lnTo>
                    <a:pt x="283" y="5558"/>
                  </a:lnTo>
                  <a:close/>
                  <a:moveTo>
                    <a:pt x="4091" y="5841"/>
                  </a:moveTo>
                  <a:lnTo>
                    <a:pt x="141" y="5841"/>
                  </a:lnTo>
                  <a:cubicBezTo>
                    <a:pt x="63" y="5841"/>
                    <a:pt x="0" y="5777"/>
                    <a:pt x="0" y="5699"/>
                  </a:cubicBezTo>
                  <a:lnTo>
                    <a:pt x="0" y="1599"/>
                  </a:lnTo>
                  <a:cubicBezTo>
                    <a:pt x="0" y="1521"/>
                    <a:pt x="63" y="1457"/>
                    <a:pt x="141" y="1457"/>
                  </a:cubicBezTo>
                  <a:lnTo>
                    <a:pt x="165" y="1457"/>
                  </a:lnTo>
                  <a:lnTo>
                    <a:pt x="2146" y="38"/>
                  </a:lnTo>
                  <a:cubicBezTo>
                    <a:pt x="2198" y="0"/>
                    <a:pt x="2269" y="2"/>
                    <a:pt x="2319" y="43"/>
                  </a:cubicBezTo>
                  <a:lnTo>
                    <a:pt x="4033" y="1456"/>
                  </a:lnTo>
                  <a:lnTo>
                    <a:pt x="4081" y="1452"/>
                  </a:lnTo>
                  <a:cubicBezTo>
                    <a:pt x="4120" y="1449"/>
                    <a:pt x="4159" y="1463"/>
                    <a:pt x="4188" y="1489"/>
                  </a:cubicBezTo>
                  <a:cubicBezTo>
                    <a:pt x="4217" y="1516"/>
                    <a:pt x="4233" y="1554"/>
                    <a:pt x="4233" y="1593"/>
                  </a:cubicBezTo>
                  <a:lnTo>
                    <a:pt x="4233" y="5699"/>
                  </a:lnTo>
                  <a:cubicBezTo>
                    <a:pt x="4233" y="5777"/>
                    <a:pt x="4170" y="5841"/>
                    <a:pt x="4091"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1353">
              <a:extLst>
                <a:ext uri="{FF2B5EF4-FFF2-40B4-BE49-F238E27FC236}">
                  <a16:creationId xmlns:a16="http://schemas.microsoft.com/office/drawing/2014/main" id="{B77944D2-1482-44D3-8A1E-D45DAE5E4D72}"/>
                </a:ext>
              </a:extLst>
            </p:cNvPr>
            <p:cNvSpPr>
              <a:spLocks/>
            </p:cNvSpPr>
            <p:nvPr/>
          </p:nvSpPr>
          <p:spPr bwMode="auto">
            <a:xfrm>
              <a:off x="37703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354">
              <a:extLst>
                <a:ext uri="{FF2B5EF4-FFF2-40B4-BE49-F238E27FC236}">
                  <a16:creationId xmlns:a16="http://schemas.microsoft.com/office/drawing/2014/main" id="{F4EFE2BD-F44A-4201-91F8-7BA1756355BE}"/>
                </a:ext>
              </a:extLst>
            </p:cNvPr>
            <p:cNvSpPr>
              <a:spLocks noEditPoints="1"/>
            </p:cNvSpPr>
            <p:nvPr/>
          </p:nvSpPr>
          <p:spPr bwMode="auto">
            <a:xfrm>
              <a:off x="4121151" y="2130425"/>
              <a:ext cx="300038" cy="414338"/>
            </a:xfrm>
            <a:custGeom>
              <a:avLst/>
              <a:gdLst>
                <a:gd name="T0" fmla="*/ 284 w 4234"/>
                <a:gd name="T1" fmla="*/ 5557 h 5841"/>
                <a:gd name="T2" fmla="*/ 3950 w 4234"/>
                <a:gd name="T3" fmla="*/ 5557 h 5841"/>
                <a:gd name="T4" fmla="*/ 3950 w 4234"/>
                <a:gd name="T5" fmla="*/ 1739 h 5841"/>
                <a:gd name="T6" fmla="*/ 3894 w 4234"/>
                <a:gd name="T7" fmla="*/ 1711 h 5841"/>
                <a:gd name="T8" fmla="*/ 2216 w 4234"/>
                <a:gd name="T9" fmla="*/ 331 h 5841"/>
                <a:gd name="T10" fmla="*/ 286 w 4234"/>
                <a:gd name="T11" fmla="*/ 1715 h 5841"/>
                <a:gd name="T12" fmla="*/ 284 w 4234"/>
                <a:gd name="T13" fmla="*/ 1716 h 5841"/>
                <a:gd name="T14" fmla="*/ 284 w 4234"/>
                <a:gd name="T15" fmla="*/ 5557 h 5841"/>
                <a:gd name="T16" fmla="*/ 4092 w 4234"/>
                <a:gd name="T17" fmla="*/ 5841 h 5841"/>
                <a:gd name="T18" fmla="*/ 142 w 4234"/>
                <a:gd name="T19" fmla="*/ 5841 h 5841"/>
                <a:gd name="T20" fmla="*/ 0 w 4234"/>
                <a:gd name="T21" fmla="*/ 5700 h 5841"/>
                <a:gd name="T22" fmla="*/ 0 w 4234"/>
                <a:gd name="T23" fmla="*/ 1599 h 5841"/>
                <a:gd name="T24" fmla="*/ 142 w 4234"/>
                <a:gd name="T25" fmla="*/ 1458 h 5841"/>
                <a:gd name="T26" fmla="*/ 158 w 4234"/>
                <a:gd name="T27" fmla="*/ 1458 h 5841"/>
                <a:gd name="T28" fmla="*/ 2139 w 4234"/>
                <a:gd name="T29" fmla="*/ 37 h 5841"/>
                <a:gd name="T30" fmla="*/ 2312 w 4234"/>
                <a:gd name="T31" fmla="*/ 43 h 5841"/>
                <a:gd name="T32" fmla="*/ 4030 w 4234"/>
                <a:gd name="T33" fmla="*/ 1456 h 5841"/>
                <a:gd name="T34" fmla="*/ 4082 w 4234"/>
                <a:gd name="T35" fmla="*/ 1452 h 5841"/>
                <a:gd name="T36" fmla="*/ 4189 w 4234"/>
                <a:gd name="T37" fmla="*/ 1490 h 5841"/>
                <a:gd name="T38" fmla="*/ 4234 w 4234"/>
                <a:gd name="T39" fmla="*/ 1594 h 5841"/>
                <a:gd name="T40" fmla="*/ 4234 w 4234"/>
                <a:gd name="T41" fmla="*/ 5700 h 5841"/>
                <a:gd name="T42" fmla="*/ 4092 w 4234"/>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4" h="5841">
                  <a:moveTo>
                    <a:pt x="284" y="5557"/>
                  </a:moveTo>
                  <a:lnTo>
                    <a:pt x="3950" y="5557"/>
                  </a:lnTo>
                  <a:lnTo>
                    <a:pt x="3950" y="1739"/>
                  </a:lnTo>
                  <a:cubicBezTo>
                    <a:pt x="3930" y="1734"/>
                    <a:pt x="3911" y="1724"/>
                    <a:pt x="3894" y="1711"/>
                  </a:cubicBezTo>
                  <a:lnTo>
                    <a:pt x="2216" y="331"/>
                  </a:lnTo>
                  <a:lnTo>
                    <a:pt x="286" y="1715"/>
                  </a:lnTo>
                  <a:cubicBezTo>
                    <a:pt x="285" y="1715"/>
                    <a:pt x="285" y="1715"/>
                    <a:pt x="284" y="1716"/>
                  </a:cubicBezTo>
                  <a:lnTo>
                    <a:pt x="284" y="5557"/>
                  </a:lnTo>
                  <a:close/>
                  <a:moveTo>
                    <a:pt x="4092" y="5841"/>
                  </a:moveTo>
                  <a:lnTo>
                    <a:pt x="142" y="5841"/>
                  </a:lnTo>
                  <a:cubicBezTo>
                    <a:pt x="64" y="5841"/>
                    <a:pt x="0" y="5778"/>
                    <a:pt x="0" y="5700"/>
                  </a:cubicBezTo>
                  <a:lnTo>
                    <a:pt x="0" y="1599"/>
                  </a:lnTo>
                  <a:cubicBezTo>
                    <a:pt x="0" y="1521"/>
                    <a:pt x="64" y="1458"/>
                    <a:pt x="142" y="1458"/>
                  </a:cubicBezTo>
                  <a:lnTo>
                    <a:pt x="158" y="1458"/>
                  </a:lnTo>
                  <a:lnTo>
                    <a:pt x="2139" y="37"/>
                  </a:lnTo>
                  <a:cubicBezTo>
                    <a:pt x="2192" y="0"/>
                    <a:pt x="2262" y="3"/>
                    <a:pt x="2312" y="43"/>
                  </a:cubicBezTo>
                  <a:lnTo>
                    <a:pt x="4030" y="1456"/>
                  </a:lnTo>
                  <a:lnTo>
                    <a:pt x="4082" y="1452"/>
                  </a:lnTo>
                  <a:cubicBezTo>
                    <a:pt x="4121" y="1449"/>
                    <a:pt x="4160" y="1463"/>
                    <a:pt x="4189" y="1490"/>
                  </a:cubicBezTo>
                  <a:cubicBezTo>
                    <a:pt x="4217" y="1517"/>
                    <a:pt x="4234" y="1554"/>
                    <a:pt x="4234" y="1594"/>
                  </a:cubicBezTo>
                  <a:lnTo>
                    <a:pt x="4234" y="5700"/>
                  </a:lnTo>
                  <a:cubicBezTo>
                    <a:pt x="4234" y="5778"/>
                    <a:pt x="4170" y="5841"/>
                    <a:pt x="4092"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Freeform 1355">
              <a:extLst>
                <a:ext uri="{FF2B5EF4-FFF2-40B4-BE49-F238E27FC236}">
                  <a16:creationId xmlns:a16="http://schemas.microsoft.com/office/drawing/2014/main" id="{08315321-B80C-4355-8418-CE9413F8002C}"/>
                </a:ext>
              </a:extLst>
            </p:cNvPr>
            <p:cNvSpPr>
              <a:spLocks/>
            </p:cNvSpPr>
            <p:nvPr/>
          </p:nvSpPr>
          <p:spPr bwMode="auto">
            <a:xfrm>
              <a:off x="41132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356">
              <a:extLst>
                <a:ext uri="{FF2B5EF4-FFF2-40B4-BE49-F238E27FC236}">
                  <a16:creationId xmlns:a16="http://schemas.microsoft.com/office/drawing/2014/main" id="{E0BE14B4-6FEC-4AAD-9BC1-5BDEF26C946B}"/>
                </a:ext>
              </a:extLst>
            </p:cNvPr>
            <p:cNvSpPr>
              <a:spLocks/>
            </p:cNvSpPr>
            <p:nvPr/>
          </p:nvSpPr>
          <p:spPr bwMode="auto">
            <a:xfrm>
              <a:off x="3924301" y="2093913"/>
              <a:ext cx="20638" cy="57150"/>
            </a:xfrm>
            <a:custGeom>
              <a:avLst/>
              <a:gdLst>
                <a:gd name="T0" fmla="*/ 142 w 283"/>
                <a:gd name="T1" fmla="*/ 800 h 800"/>
                <a:gd name="T2" fmla="*/ 0 w 283"/>
                <a:gd name="T3" fmla="*/ 658 h 800"/>
                <a:gd name="T4" fmla="*/ 0 w 283"/>
                <a:gd name="T5" fmla="*/ 141 h 800"/>
                <a:gd name="T6" fmla="*/ 142 w 283"/>
                <a:gd name="T7" fmla="*/ 0 h 800"/>
                <a:gd name="T8" fmla="*/ 283 w 283"/>
                <a:gd name="T9" fmla="*/ 141 h 800"/>
                <a:gd name="T10" fmla="*/ 283 w 283"/>
                <a:gd name="T11" fmla="*/ 658 h 800"/>
                <a:gd name="T12" fmla="*/ 142 w 283"/>
                <a:gd name="T13" fmla="*/ 800 h 800"/>
              </a:gdLst>
              <a:ahLst/>
              <a:cxnLst>
                <a:cxn ang="0">
                  <a:pos x="T0" y="T1"/>
                </a:cxn>
                <a:cxn ang="0">
                  <a:pos x="T2" y="T3"/>
                </a:cxn>
                <a:cxn ang="0">
                  <a:pos x="T4" y="T5"/>
                </a:cxn>
                <a:cxn ang="0">
                  <a:pos x="T6" y="T7"/>
                </a:cxn>
                <a:cxn ang="0">
                  <a:pos x="T8" y="T9"/>
                </a:cxn>
                <a:cxn ang="0">
                  <a:pos x="T10" y="T11"/>
                </a:cxn>
                <a:cxn ang="0">
                  <a:pos x="T12" y="T13"/>
                </a:cxn>
              </a:cxnLst>
              <a:rect l="0" t="0" r="r" b="b"/>
              <a:pathLst>
                <a:path w="283" h="800">
                  <a:moveTo>
                    <a:pt x="142" y="800"/>
                  </a:moveTo>
                  <a:cubicBezTo>
                    <a:pt x="64" y="800"/>
                    <a:pt x="0" y="736"/>
                    <a:pt x="0" y="658"/>
                  </a:cubicBezTo>
                  <a:lnTo>
                    <a:pt x="0" y="141"/>
                  </a:lnTo>
                  <a:cubicBezTo>
                    <a:pt x="0" y="63"/>
                    <a:pt x="64" y="0"/>
                    <a:pt x="142" y="0"/>
                  </a:cubicBezTo>
                  <a:cubicBezTo>
                    <a:pt x="220" y="0"/>
                    <a:pt x="283" y="63"/>
                    <a:pt x="283" y="141"/>
                  </a:cubicBezTo>
                  <a:lnTo>
                    <a:pt x="283" y="658"/>
                  </a:lnTo>
                  <a:cubicBezTo>
                    <a:pt x="283" y="736"/>
                    <a:pt x="220" y="800"/>
                    <a:pt x="142" y="8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357">
              <a:extLst>
                <a:ext uri="{FF2B5EF4-FFF2-40B4-BE49-F238E27FC236}">
                  <a16:creationId xmlns:a16="http://schemas.microsoft.com/office/drawing/2014/main" id="{4149AA15-FFD9-4FDD-A390-51F3D8E1E390}"/>
                </a:ext>
              </a:extLst>
            </p:cNvPr>
            <p:cNvSpPr>
              <a:spLocks/>
            </p:cNvSpPr>
            <p:nvPr/>
          </p:nvSpPr>
          <p:spPr bwMode="auto">
            <a:xfrm>
              <a:off x="4267201" y="2098675"/>
              <a:ext cx="20638" cy="52388"/>
            </a:xfrm>
            <a:custGeom>
              <a:avLst/>
              <a:gdLst>
                <a:gd name="T0" fmla="*/ 142 w 283"/>
                <a:gd name="T1" fmla="*/ 734 h 734"/>
                <a:gd name="T2" fmla="*/ 0 w 283"/>
                <a:gd name="T3" fmla="*/ 592 h 734"/>
                <a:gd name="T4" fmla="*/ 0 w 283"/>
                <a:gd name="T5" fmla="*/ 142 h 734"/>
                <a:gd name="T6" fmla="*/ 142 w 283"/>
                <a:gd name="T7" fmla="*/ 0 h 734"/>
                <a:gd name="T8" fmla="*/ 283 w 283"/>
                <a:gd name="T9" fmla="*/ 142 h 734"/>
                <a:gd name="T10" fmla="*/ 283 w 283"/>
                <a:gd name="T11" fmla="*/ 592 h 734"/>
                <a:gd name="T12" fmla="*/ 142 w 283"/>
                <a:gd name="T13" fmla="*/ 734 h 734"/>
              </a:gdLst>
              <a:ahLst/>
              <a:cxnLst>
                <a:cxn ang="0">
                  <a:pos x="T0" y="T1"/>
                </a:cxn>
                <a:cxn ang="0">
                  <a:pos x="T2" y="T3"/>
                </a:cxn>
                <a:cxn ang="0">
                  <a:pos x="T4" y="T5"/>
                </a:cxn>
                <a:cxn ang="0">
                  <a:pos x="T6" y="T7"/>
                </a:cxn>
                <a:cxn ang="0">
                  <a:pos x="T8" y="T9"/>
                </a:cxn>
                <a:cxn ang="0">
                  <a:pos x="T10" y="T11"/>
                </a:cxn>
                <a:cxn ang="0">
                  <a:pos x="T12" y="T13"/>
                </a:cxn>
              </a:cxnLst>
              <a:rect l="0" t="0" r="r" b="b"/>
              <a:pathLst>
                <a:path w="283" h="734">
                  <a:moveTo>
                    <a:pt x="142" y="734"/>
                  </a:moveTo>
                  <a:cubicBezTo>
                    <a:pt x="64" y="734"/>
                    <a:pt x="0" y="670"/>
                    <a:pt x="0" y="592"/>
                  </a:cubicBezTo>
                  <a:lnTo>
                    <a:pt x="0" y="142"/>
                  </a:lnTo>
                  <a:cubicBezTo>
                    <a:pt x="0" y="64"/>
                    <a:pt x="64" y="0"/>
                    <a:pt x="142" y="0"/>
                  </a:cubicBezTo>
                  <a:cubicBezTo>
                    <a:pt x="220" y="0"/>
                    <a:pt x="283" y="64"/>
                    <a:pt x="283" y="142"/>
                  </a:cubicBezTo>
                  <a:lnTo>
                    <a:pt x="283" y="592"/>
                  </a:lnTo>
                  <a:cubicBezTo>
                    <a:pt x="283" y="670"/>
                    <a:pt x="220" y="734"/>
                    <a:pt x="142" y="7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1358">
              <a:extLst>
                <a:ext uri="{FF2B5EF4-FFF2-40B4-BE49-F238E27FC236}">
                  <a16:creationId xmlns:a16="http://schemas.microsoft.com/office/drawing/2014/main" id="{637F4751-CB69-4CE4-A997-1F121B5C238D}"/>
                </a:ext>
              </a:extLst>
            </p:cNvPr>
            <p:cNvSpPr>
              <a:spLocks/>
            </p:cNvSpPr>
            <p:nvPr/>
          </p:nvSpPr>
          <p:spPr bwMode="auto">
            <a:xfrm>
              <a:off x="3924301" y="2092325"/>
              <a:ext cx="363538" cy="20638"/>
            </a:xfrm>
            <a:custGeom>
              <a:avLst/>
              <a:gdLst>
                <a:gd name="T0" fmla="*/ 4991 w 5133"/>
                <a:gd name="T1" fmla="*/ 283 h 283"/>
                <a:gd name="T2" fmla="*/ 141 w 5133"/>
                <a:gd name="T3" fmla="*/ 283 h 283"/>
                <a:gd name="T4" fmla="*/ 0 w 5133"/>
                <a:gd name="T5" fmla="*/ 141 h 283"/>
                <a:gd name="T6" fmla="*/ 141 w 5133"/>
                <a:gd name="T7" fmla="*/ 0 h 283"/>
                <a:gd name="T8" fmla="*/ 4991 w 5133"/>
                <a:gd name="T9" fmla="*/ 0 h 283"/>
                <a:gd name="T10" fmla="*/ 5133 w 5133"/>
                <a:gd name="T11" fmla="*/ 141 h 283"/>
                <a:gd name="T12" fmla="*/ 4991 w 5133"/>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5133" h="283">
                  <a:moveTo>
                    <a:pt x="4991" y="283"/>
                  </a:moveTo>
                  <a:lnTo>
                    <a:pt x="141" y="283"/>
                  </a:lnTo>
                  <a:cubicBezTo>
                    <a:pt x="63" y="283"/>
                    <a:pt x="0" y="220"/>
                    <a:pt x="0" y="141"/>
                  </a:cubicBezTo>
                  <a:cubicBezTo>
                    <a:pt x="0" y="63"/>
                    <a:pt x="63" y="0"/>
                    <a:pt x="141" y="0"/>
                  </a:cubicBezTo>
                  <a:lnTo>
                    <a:pt x="4991" y="0"/>
                  </a:lnTo>
                  <a:cubicBezTo>
                    <a:pt x="5070" y="0"/>
                    <a:pt x="5133" y="63"/>
                    <a:pt x="5133" y="141"/>
                  </a:cubicBezTo>
                  <a:cubicBezTo>
                    <a:pt x="5133" y="220"/>
                    <a:pt x="5070" y="283"/>
                    <a:pt x="4991"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1359">
              <a:extLst>
                <a:ext uri="{FF2B5EF4-FFF2-40B4-BE49-F238E27FC236}">
                  <a16:creationId xmlns:a16="http://schemas.microsoft.com/office/drawing/2014/main" id="{AE269DB1-A293-4245-8F03-A6255ACB00E6}"/>
                </a:ext>
              </a:extLst>
            </p:cNvPr>
            <p:cNvSpPr>
              <a:spLocks/>
            </p:cNvSpPr>
            <p:nvPr/>
          </p:nvSpPr>
          <p:spPr bwMode="auto">
            <a:xfrm>
              <a:off x="3829051"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1360">
              <a:extLst>
                <a:ext uri="{FF2B5EF4-FFF2-40B4-BE49-F238E27FC236}">
                  <a16:creationId xmlns:a16="http://schemas.microsoft.com/office/drawing/2014/main" id="{032B9333-A9D6-4BB2-A09B-19AF2E7AED6F}"/>
                </a:ext>
              </a:extLst>
            </p:cNvPr>
            <p:cNvSpPr>
              <a:spLocks/>
            </p:cNvSpPr>
            <p:nvPr/>
          </p:nvSpPr>
          <p:spPr bwMode="auto">
            <a:xfrm>
              <a:off x="3884613"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1361">
              <a:extLst>
                <a:ext uri="{FF2B5EF4-FFF2-40B4-BE49-F238E27FC236}">
                  <a16:creationId xmlns:a16="http://schemas.microsoft.com/office/drawing/2014/main" id="{391D2499-66CC-4D60-91CC-DC5CDFA67FC6}"/>
                </a:ext>
              </a:extLst>
            </p:cNvPr>
            <p:cNvSpPr>
              <a:spLocks/>
            </p:cNvSpPr>
            <p:nvPr/>
          </p:nvSpPr>
          <p:spPr bwMode="auto">
            <a:xfrm>
              <a:off x="3937001"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1362">
              <a:extLst>
                <a:ext uri="{FF2B5EF4-FFF2-40B4-BE49-F238E27FC236}">
                  <a16:creationId xmlns:a16="http://schemas.microsoft.com/office/drawing/2014/main" id="{183E958D-25DE-4F4F-A7F4-ED850DF3C0F5}"/>
                </a:ext>
              </a:extLst>
            </p:cNvPr>
            <p:cNvSpPr>
              <a:spLocks/>
            </p:cNvSpPr>
            <p:nvPr/>
          </p:nvSpPr>
          <p:spPr bwMode="auto">
            <a:xfrm>
              <a:off x="3997326"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1363">
              <a:extLst>
                <a:ext uri="{FF2B5EF4-FFF2-40B4-BE49-F238E27FC236}">
                  <a16:creationId xmlns:a16="http://schemas.microsoft.com/office/drawing/2014/main" id="{404B78AB-3539-418A-9FFE-15CE5DC64092}"/>
                </a:ext>
              </a:extLst>
            </p:cNvPr>
            <p:cNvSpPr>
              <a:spLocks/>
            </p:cNvSpPr>
            <p:nvPr/>
          </p:nvSpPr>
          <p:spPr bwMode="auto">
            <a:xfrm>
              <a:off x="4178301"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1364">
              <a:extLst>
                <a:ext uri="{FF2B5EF4-FFF2-40B4-BE49-F238E27FC236}">
                  <a16:creationId xmlns:a16="http://schemas.microsoft.com/office/drawing/2014/main" id="{81E71CAD-4C6A-4596-BE5E-739368F1DC06}"/>
                </a:ext>
              </a:extLst>
            </p:cNvPr>
            <p:cNvSpPr>
              <a:spLocks/>
            </p:cNvSpPr>
            <p:nvPr/>
          </p:nvSpPr>
          <p:spPr bwMode="auto">
            <a:xfrm>
              <a:off x="4233863"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1365">
              <a:extLst>
                <a:ext uri="{FF2B5EF4-FFF2-40B4-BE49-F238E27FC236}">
                  <a16:creationId xmlns:a16="http://schemas.microsoft.com/office/drawing/2014/main" id="{7D16E6BC-1D14-492F-86C1-D9FA8E63793F}"/>
                </a:ext>
              </a:extLst>
            </p:cNvPr>
            <p:cNvSpPr>
              <a:spLocks/>
            </p:cNvSpPr>
            <p:nvPr/>
          </p:nvSpPr>
          <p:spPr bwMode="auto">
            <a:xfrm>
              <a:off x="4286251" y="2293938"/>
              <a:ext cx="19050"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1366">
              <a:extLst>
                <a:ext uri="{FF2B5EF4-FFF2-40B4-BE49-F238E27FC236}">
                  <a16:creationId xmlns:a16="http://schemas.microsoft.com/office/drawing/2014/main" id="{9A1AD19F-054A-4494-AAA0-2811C7F1E5B1}"/>
                </a:ext>
              </a:extLst>
            </p:cNvPr>
            <p:cNvSpPr>
              <a:spLocks/>
            </p:cNvSpPr>
            <p:nvPr/>
          </p:nvSpPr>
          <p:spPr bwMode="auto">
            <a:xfrm>
              <a:off x="4344988"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5" name="TextBox 64">
            <a:extLst>
              <a:ext uri="{FF2B5EF4-FFF2-40B4-BE49-F238E27FC236}">
                <a16:creationId xmlns:a16="http://schemas.microsoft.com/office/drawing/2014/main" id="{9E4A0CCC-ED4F-4D68-BF95-E7547CE9C5DA}"/>
              </a:ext>
            </a:extLst>
          </p:cNvPr>
          <p:cNvSpPr txBox="1"/>
          <p:nvPr/>
        </p:nvSpPr>
        <p:spPr>
          <a:xfrm>
            <a:off x="4823260" y="4469540"/>
            <a:ext cx="2545480" cy="523220"/>
          </a:xfrm>
          <a:prstGeom prst="rect">
            <a:avLst/>
          </a:prstGeom>
          <a:noFill/>
        </p:spPr>
        <p:txBody>
          <a:bodyPr wrap="square" rtlCol="0">
            <a:spAutoFit/>
          </a:bodyPr>
          <a:lstStyle/>
          <a:p>
            <a:pPr algn="ctr"/>
            <a:r>
              <a:rPr lang="en-SG" sz="2800" dirty="0">
                <a:solidFill>
                  <a:schemeClr val="tx1">
                    <a:lumMod val="50000"/>
                    <a:lumOff val="50000"/>
                  </a:schemeClr>
                </a:solidFill>
                <a:latin typeface="Quicksand Book" panose="02070303000000060000" pitchFamily="18" charset="0"/>
              </a:rPr>
              <a:t>HOMEBO</a:t>
            </a:r>
          </a:p>
        </p:txBody>
      </p:sp>
      <p:grpSp>
        <p:nvGrpSpPr>
          <p:cNvPr id="49" name="Silos" descr="{&quot;Key&quot;:&quot;POWER_USER_SHAPE_ICON&quot;,&quot;Value&quot;:&quot;POWER_USER_SHAPE_ICON_STYLE_1&quot;}">
            <a:extLst>
              <a:ext uri="{FF2B5EF4-FFF2-40B4-BE49-F238E27FC236}">
                <a16:creationId xmlns:a16="http://schemas.microsoft.com/office/drawing/2014/main" id="{F18A6C68-C7EE-4E12-92FB-4A36A811E264}"/>
              </a:ext>
            </a:extLst>
          </p:cNvPr>
          <p:cNvGrpSpPr>
            <a:grpSpLocks noChangeAspect="1"/>
          </p:cNvGrpSpPr>
          <p:nvPr>
            <p:custDataLst>
              <p:tags r:id="rId3"/>
            </p:custDataLst>
          </p:nvPr>
        </p:nvGrpSpPr>
        <p:grpSpPr>
          <a:xfrm>
            <a:off x="8257591" y="2494835"/>
            <a:ext cx="2680440" cy="1845232"/>
            <a:chOff x="3770313" y="2092325"/>
            <a:chExt cx="657225" cy="452438"/>
          </a:xfrm>
          <a:solidFill>
            <a:schemeClr val="tx1">
              <a:lumMod val="65000"/>
              <a:lumOff val="35000"/>
            </a:schemeClr>
          </a:solidFill>
        </p:grpSpPr>
        <p:sp>
          <p:nvSpPr>
            <p:cNvPr id="50" name="Freeform 1352">
              <a:extLst>
                <a:ext uri="{FF2B5EF4-FFF2-40B4-BE49-F238E27FC236}">
                  <a16:creationId xmlns:a16="http://schemas.microsoft.com/office/drawing/2014/main" id="{1FDBE6F8-35F6-45CD-976C-7C851808B8CC}"/>
                </a:ext>
              </a:extLst>
            </p:cNvPr>
            <p:cNvSpPr>
              <a:spLocks noEditPoints="1"/>
            </p:cNvSpPr>
            <p:nvPr/>
          </p:nvSpPr>
          <p:spPr bwMode="auto">
            <a:xfrm>
              <a:off x="3778251" y="2130425"/>
              <a:ext cx="298450" cy="414338"/>
            </a:xfrm>
            <a:custGeom>
              <a:avLst/>
              <a:gdLst>
                <a:gd name="T0" fmla="*/ 283 w 4233"/>
                <a:gd name="T1" fmla="*/ 5558 h 5841"/>
                <a:gd name="T2" fmla="*/ 3950 w 4233"/>
                <a:gd name="T3" fmla="*/ 5558 h 5841"/>
                <a:gd name="T4" fmla="*/ 3950 w 4233"/>
                <a:gd name="T5" fmla="*/ 1738 h 5841"/>
                <a:gd name="T6" fmla="*/ 3897 w 4233"/>
                <a:gd name="T7" fmla="*/ 1711 h 5841"/>
                <a:gd name="T8" fmla="*/ 2223 w 4233"/>
                <a:gd name="T9" fmla="*/ 331 h 5841"/>
                <a:gd name="T10" fmla="*/ 293 w 4233"/>
                <a:gd name="T11" fmla="*/ 1714 h 5841"/>
                <a:gd name="T12" fmla="*/ 283 w 4233"/>
                <a:gd name="T13" fmla="*/ 1721 h 5841"/>
                <a:gd name="T14" fmla="*/ 283 w 4233"/>
                <a:gd name="T15" fmla="*/ 5558 h 5841"/>
                <a:gd name="T16" fmla="*/ 4091 w 4233"/>
                <a:gd name="T17" fmla="*/ 5841 h 5841"/>
                <a:gd name="T18" fmla="*/ 141 w 4233"/>
                <a:gd name="T19" fmla="*/ 5841 h 5841"/>
                <a:gd name="T20" fmla="*/ 0 w 4233"/>
                <a:gd name="T21" fmla="*/ 5699 h 5841"/>
                <a:gd name="T22" fmla="*/ 0 w 4233"/>
                <a:gd name="T23" fmla="*/ 1599 h 5841"/>
                <a:gd name="T24" fmla="*/ 141 w 4233"/>
                <a:gd name="T25" fmla="*/ 1457 h 5841"/>
                <a:gd name="T26" fmla="*/ 165 w 4233"/>
                <a:gd name="T27" fmla="*/ 1457 h 5841"/>
                <a:gd name="T28" fmla="*/ 2146 w 4233"/>
                <a:gd name="T29" fmla="*/ 38 h 5841"/>
                <a:gd name="T30" fmla="*/ 2319 w 4233"/>
                <a:gd name="T31" fmla="*/ 43 h 5841"/>
                <a:gd name="T32" fmla="*/ 4033 w 4233"/>
                <a:gd name="T33" fmla="*/ 1456 h 5841"/>
                <a:gd name="T34" fmla="*/ 4081 w 4233"/>
                <a:gd name="T35" fmla="*/ 1452 h 5841"/>
                <a:gd name="T36" fmla="*/ 4188 w 4233"/>
                <a:gd name="T37" fmla="*/ 1489 h 5841"/>
                <a:gd name="T38" fmla="*/ 4233 w 4233"/>
                <a:gd name="T39" fmla="*/ 1593 h 5841"/>
                <a:gd name="T40" fmla="*/ 4233 w 4233"/>
                <a:gd name="T41" fmla="*/ 5699 h 5841"/>
                <a:gd name="T42" fmla="*/ 4091 w 4233"/>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3" h="5841">
                  <a:moveTo>
                    <a:pt x="283" y="5558"/>
                  </a:moveTo>
                  <a:lnTo>
                    <a:pt x="3950" y="5558"/>
                  </a:lnTo>
                  <a:lnTo>
                    <a:pt x="3950" y="1738"/>
                  </a:lnTo>
                  <a:cubicBezTo>
                    <a:pt x="3931" y="1732"/>
                    <a:pt x="3913" y="1723"/>
                    <a:pt x="3897" y="1711"/>
                  </a:cubicBezTo>
                  <a:lnTo>
                    <a:pt x="2223" y="331"/>
                  </a:lnTo>
                  <a:lnTo>
                    <a:pt x="293" y="1714"/>
                  </a:lnTo>
                  <a:cubicBezTo>
                    <a:pt x="290" y="1716"/>
                    <a:pt x="286" y="1719"/>
                    <a:pt x="283" y="1721"/>
                  </a:cubicBezTo>
                  <a:lnTo>
                    <a:pt x="283" y="5558"/>
                  </a:lnTo>
                  <a:close/>
                  <a:moveTo>
                    <a:pt x="4091" y="5841"/>
                  </a:moveTo>
                  <a:lnTo>
                    <a:pt x="141" y="5841"/>
                  </a:lnTo>
                  <a:cubicBezTo>
                    <a:pt x="63" y="5841"/>
                    <a:pt x="0" y="5777"/>
                    <a:pt x="0" y="5699"/>
                  </a:cubicBezTo>
                  <a:lnTo>
                    <a:pt x="0" y="1599"/>
                  </a:lnTo>
                  <a:cubicBezTo>
                    <a:pt x="0" y="1521"/>
                    <a:pt x="63" y="1457"/>
                    <a:pt x="141" y="1457"/>
                  </a:cubicBezTo>
                  <a:lnTo>
                    <a:pt x="165" y="1457"/>
                  </a:lnTo>
                  <a:lnTo>
                    <a:pt x="2146" y="38"/>
                  </a:lnTo>
                  <a:cubicBezTo>
                    <a:pt x="2198" y="0"/>
                    <a:pt x="2269" y="2"/>
                    <a:pt x="2319" y="43"/>
                  </a:cubicBezTo>
                  <a:lnTo>
                    <a:pt x="4033" y="1456"/>
                  </a:lnTo>
                  <a:lnTo>
                    <a:pt x="4081" y="1452"/>
                  </a:lnTo>
                  <a:cubicBezTo>
                    <a:pt x="4120" y="1449"/>
                    <a:pt x="4159" y="1463"/>
                    <a:pt x="4188" y="1489"/>
                  </a:cubicBezTo>
                  <a:cubicBezTo>
                    <a:pt x="4217" y="1516"/>
                    <a:pt x="4233" y="1554"/>
                    <a:pt x="4233" y="1593"/>
                  </a:cubicBezTo>
                  <a:lnTo>
                    <a:pt x="4233" y="5699"/>
                  </a:lnTo>
                  <a:cubicBezTo>
                    <a:pt x="4233" y="5777"/>
                    <a:pt x="4170" y="5841"/>
                    <a:pt x="4091"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1353">
              <a:extLst>
                <a:ext uri="{FF2B5EF4-FFF2-40B4-BE49-F238E27FC236}">
                  <a16:creationId xmlns:a16="http://schemas.microsoft.com/office/drawing/2014/main" id="{A24F054B-48B6-45E0-B1DB-5AC5ACC9ABCB}"/>
                </a:ext>
              </a:extLst>
            </p:cNvPr>
            <p:cNvSpPr>
              <a:spLocks/>
            </p:cNvSpPr>
            <p:nvPr/>
          </p:nvSpPr>
          <p:spPr bwMode="auto">
            <a:xfrm>
              <a:off x="37703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1354">
              <a:extLst>
                <a:ext uri="{FF2B5EF4-FFF2-40B4-BE49-F238E27FC236}">
                  <a16:creationId xmlns:a16="http://schemas.microsoft.com/office/drawing/2014/main" id="{C4A50BBF-EF53-4685-9A46-D05B13B59CB0}"/>
                </a:ext>
              </a:extLst>
            </p:cNvPr>
            <p:cNvSpPr>
              <a:spLocks noEditPoints="1"/>
            </p:cNvSpPr>
            <p:nvPr/>
          </p:nvSpPr>
          <p:spPr bwMode="auto">
            <a:xfrm>
              <a:off x="4121151" y="2130425"/>
              <a:ext cx="300038" cy="414338"/>
            </a:xfrm>
            <a:custGeom>
              <a:avLst/>
              <a:gdLst>
                <a:gd name="T0" fmla="*/ 284 w 4234"/>
                <a:gd name="T1" fmla="*/ 5557 h 5841"/>
                <a:gd name="T2" fmla="*/ 3950 w 4234"/>
                <a:gd name="T3" fmla="*/ 5557 h 5841"/>
                <a:gd name="T4" fmla="*/ 3950 w 4234"/>
                <a:gd name="T5" fmla="*/ 1739 h 5841"/>
                <a:gd name="T6" fmla="*/ 3894 w 4234"/>
                <a:gd name="T7" fmla="*/ 1711 h 5841"/>
                <a:gd name="T8" fmla="*/ 2216 w 4234"/>
                <a:gd name="T9" fmla="*/ 331 h 5841"/>
                <a:gd name="T10" fmla="*/ 286 w 4234"/>
                <a:gd name="T11" fmla="*/ 1715 h 5841"/>
                <a:gd name="T12" fmla="*/ 284 w 4234"/>
                <a:gd name="T13" fmla="*/ 1716 h 5841"/>
                <a:gd name="T14" fmla="*/ 284 w 4234"/>
                <a:gd name="T15" fmla="*/ 5557 h 5841"/>
                <a:gd name="T16" fmla="*/ 4092 w 4234"/>
                <a:gd name="T17" fmla="*/ 5841 h 5841"/>
                <a:gd name="T18" fmla="*/ 142 w 4234"/>
                <a:gd name="T19" fmla="*/ 5841 h 5841"/>
                <a:gd name="T20" fmla="*/ 0 w 4234"/>
                <a:gd name="T21" fmla="*/ 5700 h 5841"/>
                <a:gd name="T22" fmla="*/ 0 w 4234"/>
                <a:gd name="T23" fmla="*/ 1599 h 5841"/>
                <a:gd name="T24" fmla="*/ 142 w 4234"/>
                <a:gd name="T25" fmla="*/ 1458 h 5841"/>
                <a:gd name="T26" fmla="*/ 158 w 4234"/>
                <a:gd name="T27" fmla="*/ 1458 h 5841"/>
                <a:gd name="T28" fmla="*/ 2139 w 4234"/>
                <a:gd name="T29" fmla="*/ 37 h 5841"/>
                <a:gd name="T30" fmla="*/ 2312 w 4234"/>
                <a:gd name="T31" fmla="*/ 43 h 5841"/>
                <a:gd name="T32" fmla="*/ 4030 w 4234"/>
                <a:gd name="T33" fmla="*/ 1456 h 5841"/>
                <a:gd name="T34" fmla="*/ 4082 w 4234"/>
                <a:gd name="T35" fmla="*/ 1452 h 5841"/>
                <a:gd name="T36" fmla="*/ 4189 w 4234"/>
                <a:gd name="T37" fmla="*/ 1490 h 5841"/>
                <a:gd name="T38" fmla="*/ 4234 w 4234"/>
                <a:gd name="T39" fmla="*/ 1594 h 5841"/>
                <a:gd name="T40" fmla="*/ 4234 w 4234"/>
                <a:gd name="T41" fmla="*/ 5700 h 5841"/>
                <a:gd name="T42" fmla="*/ 4092 w 4234"/>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4" h="5841">
                  <a:moveTo>
                    <a:pt x="284" y="5557"/>
                  </a:moveTo>
                  <a:lnTo>
                    <a:pt x="3950" y="5557"/>
                  </a:lnTo>
                  <a:lnTo>
                    <a:pt x="3950" y="1739"/>
                  </a:lnTo>
                  <a:cubicBezTo>
                    <a:pt x="3930" y="1734"/>
                    <a:pt x="3911" y="1724"/>
                    <a:pt x="3894" y="1711"/>
                  </a:cubicBezTo>
                  <a:lnTo>
                    <a:pt x="2216" y="331"/>
                  </a:lnTo>
                  <a:lnTo>
                    <a:pt x="286" y="1715"/>
                  </a:lnTo>
                  <a:cubicBezTo>
                    <a:pt x="285" y="1715"/>
                    <a:pt x="285" y="1715"/>
                    <a:pt x="284" y="1716"/>
                  </a:cubicBezTo>
                  <a:lnTo>
                    <a:pt x="284" y="5557"/>
                  </a:lnTo>
                  <a:close/>
                  <a:moveTo>
                    <a:pt x="4092" y="5841"/>
                  </a:moveTo>
                  <a:lnTo>
                    <a:pt x="142" y="5841"/>
                  </a:lnTo>
                  <a:cubicBezTo>
                    <a:pt x="64" y="5841"/>
                    <a:pt x="0" y="5778"/>
                    <a:pt x="0" y="5700"/>
                  </a:cubicBezTo>
                  <a:lnTo>
                    <a:pt x="0" y="1599"/>
                  </a:lnTo>
                  <a:cubicBezTo>
                    <a:pt x="0" y="1521"/>
                    <a:pt x="64" y="1458"/>
                    <a:pt x="142" y="1458"/>
                  </a:cubicBezTo>
                  <a:lnTo>
                    <a:pt x="158" y="1458"/>
                  </a:lnTo>
                  <a:lnTo>
                    <a:pt x="2139" y="37"/>
                  </a:lnTo>
                  <a:cubicBezTo>
                    <a:pt x="2192" y="0"/>
                    <a:pt x="2262" y="3"/>
                    <a:pt x="2312" y="43"/>
                  </a:cubicBezTo>
                  <a:lnTo>
                    <a:pt x="4030" y="1456"/>
                  </a:lnTo>
                  <a:lnTo>
                    <a:pt x="4082" y="1452"/>
                  </a:lnTo>
                  <a:cubicBezTo>
                    <a:pt x="4121" y="1449"/>
                    <a:pt x="4160" y="1463"/>
                    <a:pt x="4189" y="1490"/>
                  </a:cubicBezTo>
                  <a:cubicBezTo>
                    <a:pt x="4217" y="1517"/>
                    <a:pt x="4234" y="1554"/>
                    <a:pt x="4234" y="1594"/>
                  </a:cubicBezTo>
                  <a:lnTo>
                    <a:pt x="4234" y="5700"/>
                  </a:lnTo>
                  <a:cubicBezTo>
                    <a:pt x="4234" y="5778"/>
                    <a:pt x="4170" y="5841"/>
                    <a:pt x="4092"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1355">
              <a:extLst>
                <a:ext uri="{FF2B5EF4-FFF2-40B4-BE49-F238E27FC236}">
                  <a16:creationId xmlns:a16="http://schemas.microsoft.com/office/drawing/2014/main" id="{38B2F223-7788-4680-A403-CB3BA788FD79}"/>
                </a:ext>
              </a:extLst>
            </p:cNvPr>
            <p:cNvSpPr>
              <a:spLocks/>
            </p:cNvSpPr>
            <p:nvPr/>
          </p:nvSpPr>
          <p:spPr bwMode="auto">
            <a:xfrm>
              <a:off x="41132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1356">
              <a:extLst>
                <a:ext uri="{FF2B5EF4-FFF2-40B4-BE49-F238E27FC236}">
                  <a16:creationId xmlns:a16="http://schemas.microsoft.com/office/drawing/2014/main" id="{51F97F9C-BC31-49C6-8E5F-F3C74296C710}"/>
                </a:ext>
              </a:extLst>
            </p:cNvPr>
            <p:cNvSpPr>
              <a:spLocks/>
            </p:cNvSpPr>
            <p:nvPr/>
          </p:nvSpPr>
          <p:spPr bwMode="auto">
            <a:xfrm>
              <a:off x="3924301" y="2093913"/>
              <a:ext cx="20638" cy="57150"/>
            </a:xfrm>
            <a:custGeom>
              <a:avLst/>
              <a:gdLst>
                <a:gd name="T0" fmla="*/ 142 w 283"/>
                <a:gd name="T1" fmla="*/ 800 h 800"/>
                <a:gd name="T2" fmla="*/ 0 w 283"/>
                <a:gd name="T3" fmla="*/ 658 h 800"/>
                <a:gd name="T4" fmla="*/ 0 w 283"/>
                <a:gd name="T5" fmla="*/ 141 h 800"/>
                <a:gd name="T6" fmla="*/ 142 w 283"/>
                <a:gd name="T7" fmla="*/ 0 h 800"/>
                <a:gd name="T8" fmla="*/ 283 w 283"/>
                <a:gd name="T9" fmla="*/ 141 h 800"/>
                <a:gd name="T10" fmla="*/ 283 w 283"/>
                <a:gd name="T11" fmla="*/ 658 h 800"/>
                <a:gd name="T12" fmla="*/ 142 w 283"/>
                <a:gd name="T13" fmla="*/ 800 h 800"/>
              </a:gdLst>
              <a:ahLst/>
              <a:cxnLst>
                <a:cxn ang="0">
                  <a:pos x="T0" y="T1"/>
                </a:cxn>
                <a:cxn ang="0">
                  <a:pos x="T2" y="T3"/>
                </a:cxn>
                <a:cxn ang="0">
                  <a:pos x="T4" y="T5"/>
                </a:cxn>
                <a:cxn ang="0">
                  <a:pos x="T6" y="T7"/>
                </a:cxn>
                <a:cxn ang="0">
                  <a:pos x="T8" y="T9"/>
                </a:cxn>
                <a:cxn ang="0">
                  <a:pos x="T10" y="T11"/>
                </a:cxn>
                <a:cxn ang="0">
                  <a:pos x="T12" y="T13"/>
                </a:cxn>
              </a:cxnLst>
              <a:rect l="0" t="0" r="r" b="b"/>
              <a:pathLst>
                <a:path w="283" h="800">
                  <a:moveTo>
                    <a:pt x="142" y="800"/>
                  </a:moveTo>
                  <a:cubicBezTo>
                    <a:pt x="64" y="800"/>
                    <a:pt x="0" y="736"/>
                    <a:pt x="0" y="658"/>
                  </a:cubicBezTo>
                  <a:lnTo>
                    <a:pt x="0" y="141"/>
                  </a:lnTo>
                  <a:cubicBezTo>
                    <a:pt x="0" y="63"/>
                    <a:pt x="64" y="0"/>
                    <a:pt x="142" y="0"/>
                  </a:cubicBezTo>
                  <a:cubicBezTo>
                    <a:pt x="220" y="0"/>
                    <a:pt x="283" y="63"/>
                    <a:pt x="283" y="141"/>
                  </a:cubicBezTo>
                  <a:lnTo>
                    <a:pt x="283" y="658"/>
                  </a:lnTo>
                  <a:cubicBezTo>
                    <a:pt x="283" y="736"/>
                    <a:pt x="220" y="800"/>
                    <a:pt x="142" y="8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1357">
              <a:extLst>
                <a:ext uri="{FF2B5EF4-FFF2-40B4-BE49-F238E27FC236}">
                  <a16:creationId xmlns:a16="http://schemas.microsoft.com/office/drawing/2014/main" id="{24A25296-5CA7-4996-BBFE-2DAD25A99BD6}"/>
                </a:ext>
              </a:extLst>
            </p:cNvPr>
            <p:cNvSpPr>
              <a:spLocks/>
            </p:cNvSpPr>
            <p:nvPr/>
          </p:nvSpPr>
          <p:spPr bwMode="auto">
            <a:xfrm>
              <a:off x="4267201" y="2098675"/>
              <a:ext cx="20638" cy="52388"/>
            </a:xfrm>
            <a:custGeom>
              <a:avLst/>
              <a:gdLst>
                <a:gd name="T0" fmla="*/ 142 w 283"/>
                <a:gd name="T1" fmla="*/ 734 h 734"/>
                <a:gd name="T2" fmla="*/ 0 w 283"/>
                <a:gd name="T3" fmla="*/ 592 h 734"/>
                <a:gd name="T4" fmla="*/ 0 w 283"/>
                <a:gd name="T5" fmla="*/ 142 h 734"/>
                <a:gd name="T6" fmla="*/ 142 w 283"/>
                <a:gd name="T7" fmla="*/ 0 h 734"/>
                <a:gd name="T8" fmla="*/ 283 w 283"/>
                <a:gd name="T9" fmla="*/ 142 h 734"/>
                <a:gd name="T10" fmla="*/ 283 w 283"/>
                <a:gd name="T11" fmla="*/ 592 h 734"/>
                <a:gd name="T12" fmla="*/ 142 w 283"/>
                <a:gd name="T13" fmla="*/ 734 h 734"/>
              </a:gdLst>
              <a:ahLst/>
              <a:cxnLst>
                <a:cxn ang="0">
                  <a:pos x="T0" y="T1"/>
                </a:cxn>
                <a:cxn ang="0">
                  <a:pos x="T2" y="T3"/>
                </a:cxn>
                <a:cxn ang="0">
                  <a:pos x="T4" y="T5"/>
                </a:cxn>
                <a:cxn ang="0">
                  <a:pos x="T6" y="T7"/>
                </a:cxn>
                <a:cxn ang="0">
                  <a:pos x="T8" y="T9"/>
                </a:cxn>
                <a:cxn ang="0">
                  <a:pos x="T10" y="T11"/>
                </a:cxn>
                <a:cxn ang="0">
                  <a:pos x="T12" y="T13"/>
                </a:cxn>
              </a:cxnLst>
              <a:rect l="0" t="0" r="r" b="b"/>
              <a:pathLst>
                <a:path w="283" h="734">
                  <a:moveTo>
                    <a:pt x="142" y="734"/>
                  </a:moveTo>
                  <a:cubicBezTo>
                    <a:pt x="64" y="734"/>
                    <a:pt x="0" y="670"/>
                    <a:pt x="0" y="592"/>
                  </a:cubicBezTo>
                  <a:lnTo>
                    <a:pt x="0" y="142"/>
                  </a:lnTo>
                  <a:cubicBezTo>
                    <a:pt x="0" y="64"/>
                    <a:pt x="64" y="0"/>
                    <a:pt x="142" y="0"/>
                  </a:cubicBezTo>
                  <a:cubicBezTo>
                    <a:pt x="220" y="0"/>
                    <a:pt x="283" y="64"/>
                    <a:pt x="283" y="142"/>
                  </a:cubicBezTo>
                  <a:lnTo>
                    <a:pt x="283" y="592"/>
                  </a:lnTo>
                  <a:cubicBezTo>
                    <a:pt x="283" y="670"/>
                    <a:pt x="220" y="734"/>
                    <a:pt x="142" y="7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1358">
              <a:extLst>
                <a:ext uri="{FF2B5EF4-FFF2-40B4-BE49-F238E27FC236}">
                  <a16:creationId xmlns:a16="http://schemas.microsoft.com/office/drawing/2014/main" id="{0F6E1A2B-F8D1-41E4-AB55-9E1FA8DA5A46}"/>
                </a:ext>
              </a:extLst>
            </p:cNvPr>
            <p:cNvSpPr>
              <a:spLocks/>
            </p:cNvSpPr>
            <p:nvPr/>
          </p:nvSpPr>
          <p:spPr bwMode="auto">
            <a:xfrm>
              <a:off x="3924301" y="2092325"/>
              <a:ext cx="363538" cy="20638"/>
            </a:xfrm>
            <a:custGeom>
              <a:avLst/>
              <a:gdLst>
                <a:gd name="T0" fmla="*/ 4991 w 5133"/>
                <a:gd name="T1" fmla="*/ 283 h 283"/>
                <a:gd name="T2" fmla="*/ 141 w 5133"/>
                <a:gd name="T3" fmla="*/ 283 h 283"/>
                <a:gd name="T4" fmla="*/ 0 w 5133"/>
                <a:gd name="T5" fmla="*/ 141 h 283"/>
                <a:gd name="T6" fmla="*/ 141 w 5133"/>
                <a:gd name="T7" fmla="*/ 0 h 283"/>
                <a:gd name="T8" fmla="*/ 4991 w 5133"/>
                <a:gd name="T9" fmla="*/ 0 h 283"/>
                <a:gd name="T10" fmla="*/ 5133 w 5133"/>
                <a:gd name="T11" fmla="*/ 141 h 283"/>
                <a:gd name="T12" fmla="*/ 4991 w 5133"/>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5133" h="283">
                  <a:moveTo>
                    <a:pt x="4991" y="283"/>
                  </a:moveTo>
                  <a:lnTo>
                    <a:pt x="141" y="283"/>
                  </a:lnTo>
                  <a:cubicBezTo>
                    <a:pt x="63" y="283"/>
                    <a:pt x="0" y="220"/>
                    <a:pt x="0" y="141"/>
                  </a:cubicBezTo>
                  <a:cubicBezTo>
                    <a:pt x="0" y="63"/>
                    <a:pt x="63" y="0"/>
                    <a:pt x="141" y="0"/>
                  </a:cubicBezTo>
                  <a:lnTo>
                    <a:pt x="4991" y="0"/>
                  </a:lnTo>
                  <a:cubicBezTo>
                    <a:pt x="5070" y="0"/>
                    <a:pt x="5133" y="63"/>
                    <a:pt x="5133" y="141"/>
                  </a:cubicBezTo>
                  <a:cubicBezTo>
                    <a:pt x="5133" y="220"/>
                    <a:pt x="5070" y="283"/>
                    <a:pt x="4991"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1359">
              <a:extLst>
                <a:ext uri="{FF2B5EF4-FFF2-40B4-BE49-F238E27FC236}">
                  <a16:creationId xmlns:a16="http://schemas.microsoft.com/office/drawing/2014/main" id="{DCFA196D-49E0-4FAD-8822-F5D3B7919994}"/>
                </a:ext>
              </a:extLst>
            </p:cNvPr>
            <p:cNvSpPr>
              <a:spLocks/>
            </p:cNvSpPr>
            <p:nvPr/>
          </p:nvSpPr>
          <p:spPr bwMode="auto">
            <a:xfrm>
              <a:off x="3829051"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1360">
              <a:extLst>
                <a:ext uri="{FF2B5EF4-FFF2-40B4-BE49-F238E27FC236}">
                  <a16:creationId xmlns:a16="http://schemas.microsoft.com/office/drawing/2014/main" id="{6C7A4AE4-A355-4B1F-9361-9844AA10AD72}"/>
                </a:ext>
              </a:extLst>
            </p:cNvPr>
            <p:cNvSpPr>
              <a:spLocks/>
            </p:cNvSpPr>
            <p:nvPr/>
          </p:nvSpPr>
          <p:spPr bwMode="auto">
            <a:xfrm>
              <a:off x="3884613"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1361">
              <a:extLst>
                <a:ext uri="{FF2B5EF4-FFF2-40B4-BE49-F238E27FC236}">
                  <a16:creationId xmlns:a16="http://schemas.microsoft.com/office/drawing/2014/main" id="{9D0E65DC-F277-4D72-95BA-2DB68160E5AD}"/>
                </a:ext>
              </a:extLst>
            </p:cNvPr>
            <p:cNvSpPr>
              <a:spLocks/>
            </p:cNvSpPr>
            <p:nvPr/>
          </p:nvSpPr>
          <p:spPr bwMode="auto">
            <a:xfrm>
              <a:off x="3937001"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362">
              <a:extLst>
                <a:ext uri="{FF2B5EF4-FFF2-40B4-BE49-F238E27FC236}">
                  <a16:creationId xmlns:a16="http://schemas.microsoft.com/office/drawing/2014/main" id="{6A15DBD5-F0FC-4A16-A750-8D1C47149F99}"/>
                </a:ext>
              </a:extLst>
            </p:cNvPr>
            <p:cNvSpPr>
              <a:spLocks/>
            </p:cNvSpPr>
            <p:nvPr/>
          </p:nvSpPr>
          <p:spPr bwMode="auto">
            <a:xfrm>
              <a:off x="3997326"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1363">
              <a:extLst>
                <a:ext uri="{FF2B5EF4-FFF2-40B4-BE49-F238E27FC236}">
                  <a16:creationId xmlns:a16="http://schemas.microsoft.com/office/drawing/2014/main" id="{CDCC7593-23F0-4BD1-B0C0-5BD775488D77}"/>
                </a:ext>
              </a:extLst>
            </p:cNvPr>
            <p:cNvSpPr>
              <a:spLocks/>
            </p:cNvSpPr>
            <p:nvPr/>
          </p:nvSpPr>
          <p:spPr bwMode="auto">
            <a:xfrm>
              <a:off x="4178301"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1364">
              <a:extLst>
                <a:ext uri="{FF2B5EF4-FFF2-40B4-BE49-F238E27FC236}">
                  <a16:creationId xmlns:a16="http://schemas.microsoft.com/office/drawing/2014/main" id="{7E3C5A7F-470C-4FA8-B982-FA4D8C131FB3}"/>
                </a:ext>
              </a:extLst>
            </p:cNvPr>
            <p:cNvSpPr>
              <a:spLocks/>
            </p:cNvSpPr>
            <p:nvPr/>
          </p:nvSpPr>
          <p:spPr bwMode="auto">
            <a:xfrm>
              <a:off x="4233863"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365">
              <a:extLst>
                <a:ext uri="{FF2B5EF4-FFF2-40B4-BE49-F238E27FC236}">
                  <a16:creationId xmlns:a16="http://schemas.microsoft.com/office/drawing/2014/main" id="{BB3834B2-770A-47C6-B928-659AA7E1ABBD}"/>
                </a:ext>
              </a:extLst>
            </p:cNvPr>
            <p:cNvSpPr>
              <a:spLocks/>
            </p:cNvSpPr>
            <p:nvPr/>
          </p:nvSpPr>
          <p:spPr bwMode="auto">
            <a:xfrm>
              <a:off x="4286251" y="2293938"/>
              <a:ext cx="19050"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1366">
              <a:extLst>
                <a:ext uri="{FF2B5EF4-FFF2-40B4-BE49-F238E27FC236}">
                  <a16:creationId xmlns:a16="http://schemas.microsoft.com/office/drawing/2014/main" id="{443C4EC3-BF24-4759-B22D-61AD8C0CF926}"/>
                </a:ext>
              </a:extLst>
            </p:cNvPr>
            <p:cNvSpPr>
              <a:spLocks/>
            </p:cNvSpPr>
            <p:nvPr/>
          </p:nvSpPr>
          <p:spPr bwMode="auto">
            <a:xfrm>
              <a:off x="4344988"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7" name="TextBox 66">
            <a:extLst>
              <a:ext uri="{FF2B5EF4-FFF2-40B4-BE49-F238E27FC236}">
                <a16:creationId xmlns:a16="http://schemas.microsoft.com/office/drawing/2014/main" id="{26B8A455-1444-4805-93F7-84A486258FDC}"/>
              </a:ext>
            </a:extLst>
          </p:cNvPr>
          <p:cNvSpPr txBox="1"/>
          <p:nvPr/>
        </p:nvSpPr>
        <p:spPr>
          <a:xfrm>
            <a:off x="8415716" y="4469540"/>
            <a:ext cx="2545480" cy="523220"/>
          </a:xfrm>
          <a:prstGeom prst="rect">
            <a:avLst/>
          </a:prstGeom>
          <a:noFill/>
        </p:spPr>
        <p:txBody>
          <a:bodyPr wrap="square" rtlCol="0">
            <a:spAutoFit/>
          </a:bodyPr>
          <a:lstStyle/>
          <a:p>
            <a:pPr algn="ctr"/>
            <a:r>
              <a:rPr lang="en-SG" sz="2800" dirty="0">
                <a:solidFill>
                  <a:schemeClr val="tx1">
                    <a:lumMod val="50000"/>
                    <a:lumOff val="50000"/>
                  </a:schemeClr>
                </a:solidFill>
                <a:latin typeface="Quicksand Book" panose="02070303000000060000" pitchFamily="18" charset="0"/>
              </a:rPr>
              <a:t>ELBO</a:t>
            </a:r>
          </a:p>
        </p:txBody>
      </p:sp>
      <p:cxnSp>
        <p:nvCxnSpPr>
          <p:cNvPr id="70" name="Straight Connector 69">
            <a:extLst>
              <a:ext uri="{FF2B5EF4-FFF2-40B4-BE49-F238E27FC236}">
                <a16:creationId xmlns:a16="http://schemas.microsoft.com/office/drawing/2014/main" id="{3DD2D6A9-C16F-4997-8B1B-4BC13F4D697C}"/>
              </a:ext>
            </a:extLst>
          </p:cNvPr>
          <p:cNvCxnSpPr>
            <a:cxnSpLocks/>
          </p:cNvCxnSpPr>
          <p:nvPr/>
        </p:nvCxnSpPr>
        <p:spPr>
          <a:xfrm flipV="1">
            <a:off x="3792816" y="2058573"/>
            <a:ext cx="341034" cy="39185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67C8A3DE-1435-4AB7-B46F-7C4F80E688A1}"/>
              </a:ext>
            </a:extLst>
          </p:cNvPr>
          <p:cNvSpPr txBox="1"/>
          <p:nvPr/>
        </p:nvSpPr>
        <p:spPr>
          <a:xfrm rot="21193202">
            <a:off x="3151772" y="951886"/>
            <a:ext cx="2540455" cy="923330"/>
          </a:xfrm>
          <a:prstGeom prst="rect">
            <a:avLst/>
          </a:prstGeom>
          <a:noFill/>
          <a:ln w="12700">
            <a:solidFill>
              <a:schemeClr val="bg1"/>
            </a:solidFill>
            <a:prstDash val="lgDash"/>
          </a:ln>
        </p:spPr>
        <p:txBody>
          <a:bodyPr wrap="square" rtlCol="0">
            <a:spAutoFit/>
          </a:bodyPr>
          <a:lstStyle/>
          <a:p>
            <a:pPr algn="just"/>
            <a:r>
              <a:rPr lang="en-SG" dirty="0">
                <a:solidFill>
                  <a:schemeClr val="bg1"/>
                </a:solidFill>
                <a:latin typeface="Quicksand Light" panose="02070303000000060000" pitchFamily="18" charset="0"/>
              </a:rPr>
              <a:t>Cuts and dispenses each  medicine into a compartment</a:t>
            </a:r>
          </a:p>
        </p:txBody>
      </p:sp>
    </p:spTree>
    <p:extLst>
      <p:ext uri="{BB962C8B-B14F-4D97-AF65-F5344CB8AC3E}">
        <p14:creationId xmlns:p14="http://schemas.microsoft.com/office/powerpoint/2010/main" val="1070874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fade">
                                      <p:cBhvr>
                                        <p:cTn id="10"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sp>
        <p:nvSpPr>
          <p:cNvPr id="21" name="Title 1">
            <a:extLst>
              <a:ext uri="{FF2B5EF4-FFF2-40B4-BE49-F238E27FC236}">
                <a16:creationId xmlns:a16="http://schemas.microsoft.com/office/drawing/2014/main" id="{41C4D9DA-1CB1-444F-9329-3D5CA74663CA}"/>
              </a:ext>
            </a:extLst>
          </p:cNvPr>
          <p:cNvSpPr txBox="1">
            <a:spLocks/>
          </p:cNvSpPr>
          <p:nvPr/>
        </p:nvSpPr>
        <p:spPr>
          <a:xfrm>
            <a:off x="2033306" y="5265165"/>
            <a:ext cx="9144000" cy="138840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SG" sz="9600" dirty="0">
                <a:solidFill>
                  <a:schemeClr val="tx1">
                    <a:lumMod val="50000"/>
                    <a:lumOff val="50000"/>
                  </a:schemeClr>
                </a:solidFill>
                <a:latin typeface="Bebas Neue" panose="020B0606020202050201" pitchFamily="34" charset="0"/>
              </a:rPr>
              <a:t>3 MACHINES, 1 SYSTEM </a:t>
            </a:r>
          </a:p>
        </p:txBody>
      </p:sp>
      <p:grpSp>
        <p:nvGrpSpPr>
          <p:cNvPr id="16" name="Silos" descr="{&quot;Key&quot;:&quot;POWER_USER_SHAPE_ICON&quot;,&quot;Value&quot;:&quot;POWER_USER_SHAPE_ICON_STYLE_1&quot;}">
            <a:extLst>
              <a:ext uri="{FF2B5EF4-FFF2-40B4-BE49-F238E27FC236}">
                <a16:creationId xmlns:a16="http://schemas.microsoft.com/office/drawing/2014/main" id="{A660F0E6-8D66-426C-BA24-5F5946774B8E}"/>
              </a:ext>
            </a:extLst>
          </p:cNvPr>
          <p:cNvGrpSpPr>
            <a:grpSpLocks noChangeAspect="1"/>
          </p:cNvGrpSpPr>
          <p:nvPr>
            <p:custDataLst>
              <p:tags r:id="rId1"/>
            </p:custDataLst>
          </p:nvPr>
        </p:nvGrpSpPr>
        <p:grpSpPr>
          <a:xfrm>
            <a:off x="1364880" y="2481881"/>
            <a:ext cx="2680440" cy="1845232"/>
            <a:chOff x="3770313" y="2092325"/>
            <a:chExt cx="657225" cy="452438"/>
          </a:xfrm>
          <a:solidFill>
            <a:schemeClr val="tx1">
              <a:lumMod val="65000"/>
              <a:lumOff val="35000"/>
            </a:schemeClr>
          </a:solidFill>
        </p:grpSpPr>
        <p:sp>
          <p:nvSpPr>
            <p:cNvPr id="17" name="Freeform 1352">
              <a:extLst>
                <a:ext uri="{FF2B5EF4-FFF2-40B4-BE49-F238E27FC236}">
                  <a16:creationId xmlns:a16="http://schemas.microsoft.com/office/drawing/2014/main" id="{8465209F-D17E-4906-8388-7D2DBC86A9FA}"/>
                </a:ext>
              </a:extLst>
            </p:cNvPr>
            <p:cNvSpPr>
              <a:spLocks noEditPoints="1"/>
            </p:cNvSpPr>
            <p:nvPr/>
          </p:nvSpPr>
          <p:spPr bwMode="auto">
            <a:xfrm>
              <a:off x="3778251" y="2130425"/>
              <a:ext cx="298450" cy="414338"/>
            </a:xfrm>
            <a:custGeom>
              <a:avLst/>
              <a:gdLst>
                <a:gd name="T0" fmla="*/ 283 w 4233"/>
                <a:gd name="T1" fmla="*/ 5558 h 5841"/>
                <a:gd name="T2" fmla="*/ 3950 w 4233"/>
                <a:gd name="T3" fmla="*/ 5558 h 5841"/>
                <a:gd name="T4" fmla="*/ 3950 w 4233"/>
                <a:gd name="T5" fmla="*/ 1738 h 5841"/>
                <a:gd name="T6" fmla="*/ 3897 w 4233"/>
                <a:gd name="T7" fmla="*/ 1711 h 5841"/>
                <a:gd name="T8" fmla="*/ 2223 w 4233"/>
                <a:gd name="T9" fmla="*/ 331 h 5841"/>
                <a:gd name="T10" fmla="*/ 293 w 4233"/>
                <a:gd name="T11" fmla="*/ 1714 h 5841"/>
                <a:gd name="T12" fmla="*/ 283 w 4233"/>
                <a:gd name="T13" fmla="*/ 1721 h 5841"/>
                <a:gd name="T14" fmla="*/ 283 w 4233"/>
                <a:gd name="T15" fmla="*/ 5558 h 5841"/>
                <a:gd name="T16" fmla="*/ 4091 w 4233"/>
                <a:gd name="T17" fmla="*/ 5841 h 5841"/>
                <a:gd name="T18" fmla="*/ 141 w 4233"/>
                <a:gd name="T19" fmla="*/ 5841 h 5841"/>
                <a:gd name="T20" fmla="*/ 0 w 4233"/>
                <a:gd name="T21" fmla="*/ 5699 h 5841"/>
                <a:gd name="T22" fmla="*/ 0 w 4233"/>
                <a:gd name="T23" fmla="*/ 1599 h 5841"/>
                <a:gd name="T24" fmla="*/ 141 w 4233"/>
                <a:gd name="T25" fmla="*/ 1457 h 5841"/>
                <a:gd name="T26" fmla="*/ 165 w 4233"/>
                <a:gd name="T27" fmla="*/ 1457 h 5841"/>
                <a:gd name="T28" fmla="*/ 2146 w 4233"/>
                <a:gd name="T29" fmla="*/ 38 h 5841"/>
                <a:gd name="T30" fmla="*/ 2319 w 4233"/>
                <a:gd name="T31" fmla="*/ 43 h 5841"/>
                <a:gd name="T32" fmla="*/ 4033 w 4233"/>
                <a:gd name="T33" fmla="*/ 1456 h 5841"/>
                <a:gd name="T34" fmla="*/ 4081 w 4233"/>
                <a:gd name="T35" fmla="*/ 1452 h 5841"/>
                <a:gd name="T36" fmla="*/ 4188 w 4233"/>
                <a:gd name="T37" fmla="*/ 1489 h 5841"/>
                <a:gd name="T38" fmla="*/ 4233 w 4233"/>
                <a:gd name="T39" fmla="*/ 1593 h 5841"/>
                <a:gd name="T40" fmla="*/ 4233 w 4233"/>
                <a:gd name="T41" fmla="*/ 5699 h 5841"/>
                <a:gd name="T42" fmla="*/ 4091 w 4233"/>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3" h="5841">
                  <a:moveTo>
                    <a:pt x="283" y="5558"/>
                  </a:moveTo>
                  <a:lnTo>
                    <a:pt x="3950" y="5558"/>
                  </a:lnTo>
                  <a:lnTo>
                    <a:pt x="3950" y="1738"/>
                  </a:lnTo>
                  <a:cubicBezTo>
                    <a:pt x="3931" y="1732"/>
                    <a:pt x="3913" y="1723"/>
                    <a:pt x="3897" y="1711"/>
                  </a:cubicBezTo>
                  <a:lnTo>
                    <a:pt x="2223" y="331"/>
                  </a:lnTo>
                  <a:lnTo>
                    <a:pt x="293" y="1714"/>
                  </a:lnTo>
                  <a:cubicBezTo>
                    <a:pt x="290" y="1716"/>
                    <a:pt x="286" y="1719"/>
                    <a:pt x="283" y="1721"/>
                  </a:cubicBezTo>
                  <a:lnTo>
                    <a:pt x="283" y="5558"/>
                  </a:lnTo>
                  <a:close/>
                  <a:moveTo>
                    <a:pt x="4091" y="5841"/>
                  </a:moveTo>
                  <a:lnTo>
                    <a:pt x="141" y="5841"/>
                  </a:lnTo>
                  <a:cubicBezTo>
                    <a:pt x="63" y="5841"/>
                    <a:pt x="0" y="5777"/>
                    <a:pt x="0" y="5699"/>
                  </a:cubicBezTo>
                  <a:lnTo>
                    <a:pt x="0" y="1599"/>
                  </a:lnTo>
                  <a:cubicBezTo>
                    <a:pt x="0" y="1521"/>
                    <a:pt x="63" y="1457"/>
                    <a:pt x="141" y="1457"/>
                  </a:cubicBezTo>
                  <a:lnTo>
                    <a:pt x="165" y="1457"/>
                  </a:lnTo>
                  <a:lnTo>
                    <a:pt x="2146" y="38"/>
                  </a:lnTo>
                  <a:cubicBezTo>
                    <a:pt x="2198" y="0"/>
                    <a:pt x="2269" y="2"/>
                    <a:pt x="2319" y="43"/>
                  </a:cubicBezTo>
                  <a:lnTo>
                    <a:pt x="4033" y="1456"/>
                  </a:lnTo>
                  <a:lnTo>
                    <a:pt x="4081" y="1452"/>
                  </a:lnTo>
                  <a:cubicBezTo>
                    <a:pt x="4120" y="1449"/>
                    <a:pt x="4159" y="1463"/>
                    <a:pt x="4188" y="1489"/>
                  </a:cubicBezTo>
                  <a:cubicBezTo>
                    <a:pt x="4217" y="1516"/>
                    <a:pt x="4233" y="1554"/>
                    <a:pt x="4233" y="1593"/>
                  </a:cubicBezTo>
                  <a:lnTo>
                    <a:pt x="4233" y="5699"/>
                  </a:lnTo>
                  <a:cubicBezTo>
                    <a:pt x="4233" y="5777"/>
                    <a:pt x="4170" y="5841"/>
                    <a:pt x="4091"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1353">
              <a:extLst>
                <a:ext uri="{FF2B5EF4-FFF2-40B4-BE49-F238E27FC236}">
                  <a16:creationId xmlns:a16="http://schemas.microsoft.com/office/drawing/2014/main" id="{B3947A32-4347-46E3-BD27-7065C0C189CF}"/>
                </a:ext>
              </a:extLst>
            </p:cNvPr>
            <p:cNvSpPr>
              <a:spLocks/>
            </p:cNvSpPr>
            <p:nvPr/>
          </p:nvSpPr>
          <p:spPr bwMode="auto">
            <a:xfrm>
              <a:off x="37703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354">
              <a:extLst>
                <a:ext uri="{FF2B5EF4-FFF2-40B4-BE49-F238E27FC236}">
                  <a16:creationId xmlns:a16="http://schemas.microsoft.com/office/drawing/2014/main" id="{E891ADF3-F4E2-443D-8B47-B3075C801F97}"/>
                </a:ext>
              </a:extLst>
            </p:cNvPr>
            <p:cNvSpPr>
              <a:spLocks noEditPoints="1"/>
            </p:cNvSpPr>
            <p:nvPr/>
          </p:nvSpPr>
          <p:spPr bwMode="auto">
            <a:xfrm>
              <a:off x="4121151" y="2130425"/>
              <a:ext cx="300038" cy="414338"/>
            </a:xfrm>
            <a:custGeom>
              <a:avLst/>
              <a:gdLst>
                <a:gd name="T0" fmla="*/ 284 w 4234"/>
                <a:gd name="T1" fmla="*/ 5557 h 5841"/>
                <a:gd name="T2" fmla="*/ 3950 w 4234"/>
                <a:gd name="T3" fmla="*/ 5557 h 5841"/>
                <a:gd name="T4" fmla="*/ 3950 w 4234"/>
                <a:gd name="T5" fmla="*/ 1739 h 5841"/>
                <a:gd name="T6" fmla="*/ 3894 w 4234"/>
                <a:gd name="T7" fmla="*/ 1711 h 5841"/>
                <a:gd name="T8" fmla="*/ 2216 w 4234"/>
                <a:gd name="T9" fmla="*/ 331 h 5841"/>
                <a:gd name="T10" fmla="*/ 286 w 4234"/>
                <a:gd name="T11" fmla="*/ 1715 h 5841"/>
                <a:gd name="T12" fmla="*/ 284 w 4234"/>
                <a:gd name="T13" fmla="*/ 1716 h 5841"/>
                <a:gd name="T14" fmla="*/ 284 w 4234"/>
                <a:gd name="T15" fmla="*/ 5557 h 5841"/>
                <a:gd name="T16" fmla="*/ 4092 w 4234"/>
                <a:gd name="T17" fmla="*/ 5841 h 5841"/>
                <a:gd name="T18" fmla="*/ 142 w 4234"/>
                <a:gd name="T19" fmla="*/ 5841 h 5841"/>
                <a:gd name="T20" fmla="*/ 0 w 4234"/>
                <a:gd name="T21" fmla="*/ 5700 h 5841"/>
                <a:gd name="T22" fmla="*/ 0 w 4234"/>
                <a:gd name="T23" fmla="*/ 1599 h 5841"/>
                <a:gd name="T24" fmla="*/ 142 w 4234"/>
                <a:gd name="T25" fmla="*/ 1458 h 5841"/>
                <a:gd name="T26" fmla="*/ 158 w 4234"/>
                <a:gd name="T27" fmla="*/ 1458 h 5841"/>
                <a:gd name="T28" fmla="*/ 2139 w 4234"/>
                <a:gd name="T29" fmla="*/ 37 h 5841"/>
                <a:gd name="T30" fmla="*/ 2312 w 4234"/>
                <a:gd name="T31" fmla="*/ 43 h 5841"/>
                <a:gd name="T32" fmla="*/ 4030 w 4234"/>
                <a:gd name="T33" fmla="*/ 1456 h 5841"/>
                <a:gd name="T34" fmla="*/ 4082 w 4234"/>
                <a:gd name="T35" fmla="*/ 1452 h 5841"/>
                <a:gd name="T36" fmla="*/ 4189 w 4234"/>
                <a:gd name="T37" fmla="*/ 1490 h 5841"/>
                <a:gd name="T38" fmla="*/ 4234 w 4234"/>
                <a:gd name="T39" fmla="*/ 1594 h 5841"/>
                <a:gd name="T40" fmla="*/ 4234 w 4234"/>
                <a:gd name="T41" fmla="*/ 5700 h 5841"/>
                <a:gd name="T42" fmla="*/ 4092 w 4234"/>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4" h="5841">
                  <a:moveTo>
                    <a:pt x="284" y="5557"/>
                  </a:moveTo>
                  <a:lnTo>
                    <a:pt x="3950" y="5557"/>
                  </a:lnTo>
                  <a:lnTo>
                    <a:pt x="3950" y="1739"/>
                  </a:lnTo>
                  <a:cubicBezTo>
                    <a:pt x="3930" y="1734"/>
                    <a:pt x="3911" y="1724"/>
                    <a:pt x="3894" y="1711"/>
                  </a:cubicBezTo>
                  <a:lnTo>
                    <a:pt x="2216" y="331"/>
                  </a:lnTo>
                  <a:lnTo>
                    <a:pt x="286" y="1715"/>
                  </a:lnTo>
                  <a:cubicBezTo>
                    <a:pt x="285" y="1715"/>
                    <a:pt x="285" y="1715"/>
                    <a:pt x="284" y="1716"/>
                  </a:cubicBezTo>
                  <a:lnTo>
                    <a:pt x="284" y="5557"/>
                  </a:lnTo>
                  <a:close/>
                  <a:moveTo>
                    <a:pt x="4092" y="5841"/>
                  </a:moveTo>
                  <a:lnTo>
                    <a:pt x="142" y="5841"/>
                  </a:lnTo>
                  <a:cubicBezTo>
                    <a:pt x="64" y="5841"/>
                    <a:pt x="0" y="5778"/>
                    <a:pt x="0" y="5700"/>
                  </a:cubicBezTo>
                  <a:lnTo>
                    <a:pt x="0" y="1599"/>
                  </a:lnTo>
                  <a:cubicBezTo>
                    <a:pt x="0" y="1521"/>
                    <a:pt x="64" y="1458"/>
                    <a:pt x="142" y="1458"/>
                  </a:cubicBezTo>
                  <a:lnTo>
                    <a:pt x="158" y="1458"/>
                  </a:lnTo>
                  <a:lnTo>
                    <a:pt x="2139" y="37"/>
                  </a:lnTo>
                  <a:cubicBezTo>
                    <a:pt x="2192" y="0"/>
                    <a:pt x="2262" y="3"/>
                    <a:pt x="2312" y="43"/>
                  </a:cubicBezTo>
                  <a:lnTo>
                    <a:pt x="4030" y="1456"/>
                  </a:lnTo>
                  <a:lnTo>
                    <a:pt x="4082" y="1452"/>
                  </a:lnTo>
                  <a:cubicBezTo>
                    <a:pt x="4121" y="1449"/>
                    <a:pt x="4160" y="1463"/>
                    <a:pt x="4189" y="1490"/>
                  </a:cubicBezTo>
                  <a:cubicBezTo>
                    <a:pt x="4217" y="1517"/>
                    <a:pt x="4234" y="1554"/>
                    <a:pt x="4234" y="1594"/>
                  </a:cubicBezTo>
                  <a:lnTo>
                    <a:pt x="4234" y="5700"/>
                  </a:lnTo>
                  <a:cubicBezTo>
                    <a:pt x="4234" y="5778"/>
                    <a:pt x="4170" y="5841"/>
                    <a:pt x="4092"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1355">
              <a:extLst>
                <a:ext uri="{FF2B5EF4-FFF2-40B4-BE49-F238E27FC236}">
                  <a16:creationId xmlns:a16="http://schemas.microsoft.com/office/drawing/2014/main" id="{6D86136E-D11A-4610-AABA-D339EFD392C7}"/>
                </a:ext>
              </a:extLst>
            </p:cNvPr>
            <p:cNvSpPr>
              <a:spLocks/>
            </p:cNvSpPr>
            <p:nvPr/>
          </p:nvSpPr>
          <p:spPr bwMode="auto">
            <a:xfrm>
              <a:off x="41132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1356">
              <a:extLst>
                <a:ext uri="{FF2B5EF4-FFF2-40B4-BE49-F238E27FC236}">
                  <a16:creationId xmlns:a16="http://schemas.microsoft.com/office/drawing/2014/main" id="{85922CBA-A45A-4755-A90C-B883ADDF4C55}"/>
                </a:ext>
              </a:extLst>
            </p:cNvPr>
            <p:cNvSpPr>
              <a:spLocks/>
            </p:cNvSpPr>
            <p:nvPr/>
          </p:nvSpPr>
          <p:spPr bwMode="auto">
            <a:xfrm>
              <a:off x="3924301" y="2093913"/>
              <a:ext cx="20638" cy="57150"/>
            </a:xfrm>
            <a:custGeom>
              <a:avLst/>
              <a:gdLst>
                <a:gd name="T0" fmla="*/ 142 w 283"/>
                <a:gd name="T1" fmla="*/ 800 h 800"/>
                <a:gd name="T2" fmla="*/ 0 w 283"/>
                <a:gd name="T3" fmla="*/ 658 h 800"/>
                <a:gd name="T4" fmla="*/ 0 w 283"/>
                <a:gd name="T5" fmla="*/ 141 h 800"/>
                <a:gd name="T6" fmla="*/ 142 w 283"/>
                <a:gd name="T7" fmla="*/ 0 h 800"/>
                <a:gd name="T8" fmla="*/ 283 w 283"/>
                <a:gd name="T9" fmla="*/ 141 h 800"/>
                <a:gd name="T10" fmla="*/ 283 w 283"/>
                <a:gd name="T11" fmla="*/ 658 h 800"/>
                <a:gd name="T12" fmla="*/ 142 w 283"/>
                <a:gd name="T13" fmla="*/ 800 h 800"/>
              </a:gdLst>
              <a:ahLst/>
              <a:cxnLst>
                <a:cxn ang="0">
                  <a:pos x="T0" y="T1"/>
                </a:cxn>
                <a:cxn ang="0">
                  <a:pos x="T2" y="T3"/>
                </a:cxn>
                <a:cxn ang="0">
                  <a:pos x="T4" y="T5"/>
                </a:cxn>
                <a:cxn ang="0">
                  <a:pos x="T6" y="T7"/>
                </a:cxn>
                <a:cxn ang="0">
                  <a:pos x="T8" y="T9"/>
                </a:cxn>
                <a:cxn ang="0">
                  <a:pos x="T10" y="T11"/>
                </a:cxn>
                <a:cxn ang="0">
                  <a:pos x="T12" y="T13"/>
                </a:cxn>
              </a:cxnLst>
              <a:rect l="0" t="0" r="r" b="b"/>
              <a:pathLst>
                <a:path w="283" h="800">
                  <a:moveTo>
                    <a:pt x="142" y="800"/>
                  </a:moveTo>
                  <a:cubicBezTo>
                    <a:pt x="64" y="800"/>
                    <a:pt x="0" y="736"/>
                    <a:pt x="0" y="658"/>
                  </a:cubicBezTo>
                  <a:lnTo>
                    <a:pt x="0" y="141"/>
                  </a:lnTo>
                  <a:cubicBezTo>
                    <a:pt x="0" y="63"/>
                    <a:pt x="64" y="0"/>
                    <a:pt x="142" y="0"/>
                  </a:cubicBezTo>
                  <a:cubicBezTo>
                    <a:pt x="220" y="0"/>
                    <a:pt x="283" y="63"/>
                    <a:pt x="283" y="141"/>
                  </a:cubicBezTo>
                  <a:lnTo>
                    <a:pt x="283" y="658"/>
                  </a:lnTo>
                  <a:cubicBezTo>
                    <a:pt x="283" y="736"/>
                    <a:pt x="220" y="800"/>
                    <a:pt x="142" y="8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1357">
              <a:extLst>
                <a:ext uri="{FF2B5EF4-FFF2-40B4-BE49-F238E27FC236}">
                  <a16:creationId xmlns:a16="http://schemas.microsoft.com/office/drawing/2014/main" id="{82B6E3EB-E620-409B-A83B-1A935582FF66}"/>
                </a:ext>
              </a:extLst>
            </p:cNvPr>
            <p:cNvSpPr>
              <a:spLocks/>
            </p:cNvSpPr>
            <p:nvPr/>
          </p:nvSpPr>
          <p:spPr bwMode="auto">
            <a:xfrm>
              <a:off x="4267201" y="2098675"/>
              <a:ext cx="20638" cy="52388"/>
            </a:xfrm>
            <a:custGeom>
              <a:avLst/>
              <a:gdLst>
                <a:gd name="T0" fmla="*/ 142 w 283"/>
                <a:gd name="T1" fmla="*/ 734 h 734"/>
                <a:gd name="T2" fmla="*/ 0 w 283"/>
                <a:gd name="T3" fmla="*/ 592 h 734"/>
                <a:gd name="T4" fmla="*/ 0 w 283"/>
                <a:gd name="T5" fmla="*/ 142 h 734"/>
                <a:gd name="T6" fmla="*/ 142 w 283"/>
                <a:gd name="T7" fmla="*/ 0 h 734"/>
                <a:gd name="T8" fmla="*/ 283 w 283"/>
                <a:gd name="T9" fmla="*/ 142 h 734"/>
                <a:gd name="T10" fmla="*/ 283 w 283"/>
                <a:gd name="T11" fmla="*/ 592 h 734"/>
                <a:gd name="T12" fmla="*/ 142 w 283"/>
                <a:gd name="T13" fmla="*/ 734 h 734"/>
              </a:gdLst>
              <a:ahLst/>
              <a:cxnLst>
                <a:cxn ang="0">
                  <a:pos x="T0" y="T1"/>
                </a:cxn>
                <a:cxn ang="0">
                  <a:pos x="T2" y="T3"/>
                </a:cxn>
                <a:cxn ang="0">
                  <a:pos x="T4" y="T5"/>
                </a:cxn>
                <a:cxn ang="0">
                  <a:pos x="T6" y="T7"/>
                </a:cxn>
                <a:cxn ang="0">
                  <a:pos x="T8" y="T9"/>
                </a:cxn>
                <a:cxn ang="0">
                  <a:pos x="T10" y="T11"/>
                </a:cxn>
                <a:cxn ang="0">
                  <a:pos x="T12" y="T13"/>
                </a:cxn>
              </a:cxnLst>
              <a:rect l="0" t="0" r="r" b="b"/>
              <a:pathLst>
                <a:path w="283" h="734">
                  <a:moveTo>
                    <a:pt x="142" y="734"/>
                  </a:moveTo>
                  <a:cubicBezTo>
                    <a:pt x="64" y="734"/>
                    <a:pt x="0" y="670"/>
                    <a:pt x="0" y="592"/>
                  </a:cubicBezTo>
                  <a:lnTo>
                    <a:pt x="0" y="142"/>
                  </a:lnTo>
                  <a:cubicBezTo>
                    <a:pt x="0" y="64"/>
                    <a:pt x="64" y="0"/>
                    <a:pt x="142" y="0"/>
                  </a:cubicBezTo>
                  <a:cubicBezTo>
                    <a:pt x="220" y="0"/>
                    <a:pt x="283" y="64"/>
                    <a:pt x="283" y="142"/>
                  </a:cubicBezTo>
                  <a:lnTo>
                    <a:pt x="283" y="592"/>
                  </a:lnTo>
                  <a:cubicBezTo>
                    <a:pt x="283" y="670"/>
                    <a:pt x="220" y="734"/>
                    <a:pt x="142" y="7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1358">
              <a:extLst>
                <a:ext uri="{FF2B5EF4-FFF2-40B4-BE49-F238E27FC236}">
                  <a16:creationId xmlns:a16="http://schemas.microsoft.com/office/drawing/2014/main" id="{40A22314-935E-44D8-B7B8-8FD169FF1B11}"/>
                </a:ext>
              </a:extLst>
            </p:cNvPr>
            <p:cNvSpPr>
              <a:spLocks/>
            </p:cNvSpPr>
            <p:nvPr/>
          </p:nvSpPr>
          <p:spPr bwMode="auto">
            <a:xfrm>
              <a:off x="3924301" y="2092325"/>
              <a:ext cx="363538" cy="20638"/>
            </a:xfrm>
            <a:custGeom>
              <a:avLst/>
              <a:gdLst>
                <a:gd name="T0" fmla="*/ 4991 w 5133"/>
                <a:gd name="T1" fmla="*/ 283 h 283"/>
                <a:gd name="T2" fmla="*/ 141 w 5133"/>
                <a:gd name="T3" fmla="*/ 283 h 283"/>
                <a:gd name="T4" fmla="*/ 0 w 5133"/>
                <a:gd name="T5" fmla="*/ 141 h 283"/>
                <a:gd name="T6" fmla="*/ 141 w 5133"/>
                <a:gd name="T7" fmla="*/ 0 h 283"/>
                <a:gd name="T8" fmla="*/ 4991 w 5133"/>
                <a:gd name="T9" fmla="*/ 0 h 283"/>
                <a:gd name="T10" fmla="*/ 5133 w 5133"/>
                <a:gd name="T11" fmla="*/ 141 h 283"/>
                <a:gd name="T12" fmla="*/ 4991 w 5133"/>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5133" h="283">
                  <a:moveTo>
                    <a:pt x="4991" y="283"/>
                  </a:moveTo>
                  <a:lnTo>
                    <a:pt x="141" y="283"/>
                  </a:lnTo>
                  <a:cubicBezTo>
                    <a:pt x="63" y="283"/>
                    <a:pt x="0" y="220"/>
                    <a:pt x="0" y="141"/>
                  </a:cubicBezTo>
                  <a:cubicBezTo>
                    <a:pt x="0" y="63"/>
                    <a:pt x="63" y="0"/>
                    <a:pt x="141" y="0"/>
                  </a:cubicBezTo>
                  <a:lnTo>
                    <a:pt x="4991" y="0"/>
                  </a:lnTo>
                  <a:cubicBezTo>
                    <a:pt x="5070" y="0"/>
                    <a:pt x="5133" y="63"/>
                    <a:pt x="5133" y="141"/>
                  </a:cubicBezTo>
                  <a:cubicBezTo>
                    <a:pt x="5133" y="220"/>
                    <a:pt x="5070" y="283"/>
                    <a:pt x="4991"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1359">
              <a:extLst>
                <a:ext uri="{FF2B5EF4-FFF2-40B4-BE49-F238E27FC236}">
                  <a16:creationId xmlns:a16="http://schemas.microsoft.com/office/drawing/2014/main" id="{F1294902-46A0-419F-BBD2-5F1CBAC0354D}"/>
                </a:ext>
              </a:extLst>
            </p:cNvPr>
            <p:cNvSpPr>
              <a:spLocks/>
            </p:cNvSpPr>
            <p:nvPr/>
          </p:nvSpPr>
          <p:spPr bwMode="auto">
            <a:xfrm>
              <a:off x="3829051"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1360">
              <a:extLst>
                <a:ext uri="{FF2B5EF4-FFF2-40B4-BE49-F238E27FC236}">
                  <a16:creationId xmlns:a16="http://schemas.microsoft.com/office/drawing/2014/main" id="{8B560E4A-45D2-4A32-89F2-0DB6860F0435}"/>
                </a:ext>
              </a:extLst>
            </p:cNvPr>
            <p:cNvSpPr>
              <a:spLocks/>
            </p:cNvSpPr>
            <p:nvPr/>
          </p:nvSpPr>
          <p:spPr bwMode="auto">
            <a:xfrm>
              <a:off x="3884613"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1361">
              <a:extLst>
                <a:ext uri="{FF2B5EF4-FFF2-40B4-BE49-F238E27FC236}">
                  <a16:creationId xmlns:a16="http://schemas.microsoft.com/office/drawing/2014/main" id="{95BB8ED4-B7A8-4AF3-B67E-74F065B28266}"/>
                </a:ext>
              </a:extLst>
            </p:cNvPr>
            <p:cNvSpPr>
              <a:spLocks/>
            </p:cNvSpPr>
            <p:nvPr/>
          </p:nvSpPr>
          <p:spPr bwMode="auto">
            <a:xfrm>
              <a:off x="3937001"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1362">
              <a:extLst>
                <a:ext uri="{FF2B5EF4-FFF2-40B4-BE49-F238E27FC236}">
                  <a16:creationId xmlns:a16="http://schemas.microsoft.com/office/drawing/2014/main" id="{07F00127-D4E5-4411-B337-8ADA2397AD02}"/>
                </a:ext>
              </a:extLst>
            </p:cNvPr>
            <p:cNvSpPr>
              <a:spLocks/>
            </p:cNvSpPr>
            <p:nvPr/>
          </p:nvSpPr>
          <p:spPr bwMode="auto">
            <a:xfrm>
              <a:off x="3997326"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1363">
              <a:extLst>
                <a:ext uri="{FF2B5EF4-FFF2-40B4-BE49-F238E27FC236}">
                  <a16:creationId xmlns:a16="http://schemas.microsoft.com/office/drawing/2014/main" id="{753217C3-AEE9-47FC-9B7F-10B922A585E4}"/>
                </a:ext>
              </a:extLst>
            </p:cNvPr>
            <p:cNvSpPr>
              <a:spLocks/>
            </p:cNvSpPr>
            <p:nvPr/>
          </p:nvSpPr>
          <p:spPr bwMode="auto">
            <a:xfrm>
              <a:off x="4178301"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1364">
              <a:extLst>
                <a:ext uri="{FF2B5EF4-FFF2-40B4-BE49-F238E27FC236}">
                  <a16:creationId xmlns:a16="http://schemas.microsoft.com/office/drawing/2014/main" id="{3436D22C-232C-41B2-9B40-68E34A37AB17}"/>
                </a:ext>
              </a:extLst>
            </p:cNvPr>
            <p:cNvSpPr>
              <a:spLocks/>
            </p:cNvSpPr>
            <p:nvPr/>
          </p:nvSpPr>
          <p:spPr bwMode="auto">
            <a:xfrm>
              <a:off x="4233863"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1365">
              <a:extLst>
                <a:ext uri="{FF2B5EF4-FFF2-40B4-BE49-F238E27FC236}">
                  <a16:creationId xmlns:a16="http://schemas.microsoft.com/office/drawing/2014/main" id="{3F7C0D44-1F1E-4629-AD0D-22E30E7D6AAE}"/>
                </a:ext>
              </a:extLst>
            </p:cNvPr>
            <p:cNvSpPr>
              <a:spLocks/>
            </p:cNvSpPr>
            <p:nvPr/>
          </p:nvSpPr>
          <p:spPr bwMode="auto">
            <a:xfrm>
              <a:off x="4286251" y="2293938"/>
              <a:ext cx="19050"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1366">
              <a:extLst>
                <a:ext uri="{FF2B5EF4-FFF2-40B4-BE49-F238E27FC236}">
                  <a16:creationId xmlns:a16="http://schemas.microsoft.com/office/drawing/2014/main" id="{7038D836-C8E8-4595-9789-0B5EB8DF3F1E}"/>
                </a:ext>
              </a:extLst>
            </p:cNvPr>
            <p:cNvSpPr>
              <a:spLocks/>
            </p:cNvSpPr>
            <p:nvPr/>
          </p:nvSpPr>
          <p:spPr bwMode="auto">
            <a:xfrm>
              <a:off x="4344988"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 name="TextBox 11">
            <a:extLst>
              <a:ext uri="{FF2B5EF4-FFF2-40B4-BE49-F238E27FC236}">
                <a16:creationId xmlns:a16="http://schemas.microsoft.com/office/drawing/2014/main" id="{81960B73-AF41-4791-803C-E6D0D3BAB48F}"/>
              </a:ext>
            </a:extLst>
          </p:cNvPr>
          <p:cNvSpPr txBox="1"/>
          <p:nvPr/>
        </p:nvSpPr>
        <p:spPr>
          <a:xfrm>
            <a:off x="1397255" y="4473677"/>
            <a:ext cx="2545480" cy="523220"/>
          </a:xfrm>
          <a:prstGeom prst="rect">
            <a:avLst/>
          </a:prstGeom>
          <a:noFill/>
        </p:spPr>
        <p:txBody>
          <a:bodyPr wrap="square" rtlCol="0">
            <a:spAutoFit/>
          </a:bodyPr>
          <a:lstStyle/>
          <a:p>
            <a:pPr algn="ctr"/>
            <a:r>
              <a:rPr lang="en-SG" sz="2800" dirty="0">
                <a:solidFill>
                  <a:schemeClr val="tx1">
                    <a:lumMod val="50000"/>
                    <a:lumOff val="50000"/>
                  </a:schemeClr>
                </a:solidFill>
                <a:latin typeface="Quicksand Book" panose="02070303000000060000" pitchFamily="18" charset="0"/>
              </a:rPr>
              <a:t>PHOBO</a:t>
            </a:r>
          </a:p>
        </p:txBody>
      </p:sp>
      <p:grpSp>
        <p:nvGrpSpPr>
          <p:cNvPr id="33" name="Silos" descr="{&quot;Key&quot;:&quot;POWER_USER_SHAPE_ICON&quot;,&quot;Value&quot;:&quot;POWER_USER_SHAPE_ICON_STYLE_1&quot;}">
            <a:extLst>
              <a:ext uri="{FF2B5EF4-FFF2-40B4-BE49-F238E27FC236}">
                <a16:creationId xmlns:a16="http://schemas.microsoft.com/office/drawing/2014/main" id="{763BCC65-7D4C-4676-AE8D-D4EBFFCFABD8}"/>
              </a:ext>
            </a:extLst>
          </p:cNvPr>
          <p:cNvGrpSpPr>
            <a:grpSpLocks noChangeAspect="1"/>
          </p:cNvGrpSpPr>
          <p:nvPr>
            <p:custDataLst>
              <p:tags r:id="rId2"/>
            </p:custDataLst>
          </p:nvPr>
        </p:nvGrpSpPr>
        <p:grpSpPr>
          <a:xfrm>
            <a:off x="4765924" y="2478018"/>
            <a:ext cx="2680440" cy="1845232"/>
            <a:chOff x="3770313" y="2092325"/>
            <a:chExt cx="657225" cy="452438"/>
          </a:xfrm>
          <a:solidFill>
            <a:schemeClr val="tx1">
              <a:lumMod val="65000"/>
              <a:lumOff val="35000"/>
            </a:schemeClr>
          </a:solidFill>
        </p:grpSpPr>
        <p:sp>
          <p:nvSpPr>
            <p:cNvPr id="34" name="Freeform 1352">
              <a:extLst>
                <a:ext uri="{FF2B5EF4-FFF2-40B4-BE49-F238E27FC236}">
                  <a16:creationId xmlns:a16="http://schemas.microsoft.com/office/drawing/2014/main" id="{130062A4-218C-41A6-89C6-87734ED25E9A}"/>
                </a:ext>
              </a:extLst>
            </p:cNvPr>
            <p:cNvSpPr>
              <a:spLocks noEditPoints="1"/>
            </p:cNvSpPr>
            <p:nvPr/>
          </p:nvSpPr>
          <p:spPr bwMode="auto">
            <a:xfrm>
              <a:off x="3778251" y="2130425"/>
              <a:ext cx="298450" cy="414338"/>
            </a:xfrm>
            <a:custGeom>
              <a:avLst/>
              <a:gdLst>
                <a:gd name="T0" fmla="*/ 283 w 4233"/>
                <a:gd name="T1" fmla="*/ 5558 h 5841"/>
                <a:gd name="T2" fmla="*/ 3950 w 4233"/>
                <a:gd name="T3" fmla="*/ 5558 h 5841"/>
                <a:gd name="T4" fmla="*/ 3950 w 4233"/>
                <a:gd name="T5" fmla="*/ 1738 h 5841"/>
                <a:gd name="T6" fmla="*/ 3897 w 4233"/>
                <a:gd name="T7" fmla="*/ 1711 h 5841"/>
                <a:gd name="T8" fmla="*/ 2223 w 4233"/>
                <a:gd name="T9" fmla="*/ 331 h 5841"/>
                <a:gd name="T10" fmla="*/ 293 w 4233"/>
                <a:gd name="T11" fmla="*/ 1714 h 5841"/>
                <a:gd name="T12" fmla="*/ 283 w 4233"/>
                <a:gd name="T13" fmla="*/ 1721 h 5841"/>
                <a:gd name="T14" fmla="*/ 283 w 4233"/>
                <a:gd name="T15" fmla="*/ 5558 h 5841"/>
                <a:gd name="T16" fmla="*/ 4091 w 4233"/>
                <a:gd name="T17" fmla="*/ 5841 h 5841"/>
                <a:gd name="T18" fmla="*/ 141 w 4233"/>
                <a:gd name="T19" fmla="*/ 5841 h 5841"/>
                <a:gd name="T20" fmla="*/ 0 w 4233"/>
                <a:gd name="T21" fmla="*/ 5699 h 5841"/>
                <a:gd name="T22" fmla="*/ 0 w 4233"/>
                <a:gd name="T23" fmla="*/ 1599 h 5841"/>
                <a:gd name="T24" fmla="*/ 141 w 4233"/>
                <a:gd name="T25" fmla="*/ 1457 h 5841"/>
                <a:gd name="T26" fmla="*/ 165 w 4233"/>
                <a:gd name="T27" fmla="*/ 1457 h 5841"/>
                <a:gd name="T28" fmla="*/ 2146 w 4233"/>
                <a:gd name="T29" fmla="*/ 38 h 5841"/>
                <a:gd name="T30" fmla="*/ 2319 w 4233"/>
                <a:gd name="T31" fmla="*/ 43 h 5841"/>
                <a:gd name="T32" fmla="*/ 4033 w 4233"/>
                <a:gd name="T33" fmla="*/ 1456 h 5841"/>
                <a:gd name="T34" fmla="*/ 4081 w 4233"/>
                <a:gd name="T35" fmla="*/ 1452 h 5841"/>
                <a:gd name="T36" fmla="*/ 4188 w 4233"/>
                <a:gd name="T37" fmla="*/ 1489 h 5841"/>
                <a:gd name="T38" fmla="*/ 4233 w 4233"/>
                <a:gd name="T39" fmla="*/ 1593 h 5841"/>
                <a:gd name="T40" fmla="*/ 4233 w 4233"/>
                <a:gd name="T41" fmla="*/ 5699 h 5841"/>
                <a:gd name="T42" fmla="*/ 4091 w 4233"/>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3" h="5841">
                  <a:moveTo>
                    <a:pt x="283" y="5558"/>
                  </a:moveTo>
                  <a:lnTo>
                    <a:pt x="3950" y="5558"/>
                  </a:lnTo>
                  <a:lnTo>
                    <a:pt x="3950" y="1738"/>
                  </a:lnTo>
                  <a:cubicBezTo>
                    <a:pt x="3931" y="1732"/>
                    <a:pt x="3913" y="1723"/>
                    <a:pt x="3897" y="1711"/>
                  </a:cubicBezTo>
                  <a:lnTo>
                    <a:pt x="2223" y="331"/>
                  </a:lnTo>
                  <a:lnTo>
                    <a:pt x="293" y="1714"/>
                  </a:lnTo>
                  <a:cubicBezTo>
                    <a:pt x="290" y="1716"/>
                    <a:pt x="286" y="1719"/>
                    <a:pt x="283" y="1721"/>
                  </a:cubicBezTo>
                  <a:lnTo>
                    <a:pt x="283" y="5558"/>
                  </a:lnTo>
                  <a:close/>
                  <a:moveTo>
                    <a:pt x="4091" y="5841"/>
                  </a:moveTo>
                  <a:lnTo>
                    <a:pt x="141" y="5841"/>
                  </a:lnTo>
                  <a:cubicBezTo>
                    <a:pt x="63" y="5841"/>
                    <a:pt x="0" y="5777"/>
                    <a:pt x="0" y="5699"/>
                  </a:cubicBezTo>
                  <a:lnTo>
                    <a:pt x="0" y="1599"/>
                  </a:lnTo>
                  <a:cubicBezTo>
                    <a:pt x="0" y="1521"/>
                    <a:pt x="63" y="1457"/>
                    <a:pt x="141" y="1457"/>
                  </a:cubicBezTo>
                  <a:lnTo>
                    <a:pt x="165" y="1457"/>
                  </a:lnTo>
                  <a:lnTo>
                    <a:pt x="2146" y="38"/>
                  </a:lnTo>
                  <a:cubicBezTo>
                    <a:pt x="2198" y="0"/>
                    <a:pt x="2269" y="2"/>
                    <a:pt x="2319" y="43"/>
                  </a:cubicBezTo>
                  <a:lnTo>
                    <a:pt x="4033" y="1456"/>
                  </a:lnTo>
                  <a:lnTo>
                    <a:pt x="4081" y="1452"/>
                  </a:lnTo>
                  <a:cubicBezTo>
                    <a:pt x="4120" y="1449"/>
                    <a:pt x="4159" y="1463"/>
                    <a:pt x="4188" y="1489"/>
                  </a:cubicBezTo>
                  <a:cubicBezTo>
                    <a:pt x="4217" y="1516"/>
                    <a:pt x="4233" y="1554"/>
                    <a:pt x="4233" y="1593"/>
                  </a:cubicBezTo>
                  <a:lnTo>
                    <a:pt x="4233" y="5699"/>
                  </a:lnTo>
                  <a:cubicBezTo>
                    <a:pt x="4233" y="5777"/>
                    <a:pt x="4170" y="5841"/>
                    <a:pt x="4091"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1353">
              <a:extLst>
                <a:ext uri="{FF2B5EF4-FFF2-40B4-BE49-F238E27FC236}">
                  <a16:creationId xmlns:a16="http://schemas.microsoft.com/office/drawing/2014/main" id="{B77944D2-1482-44D3-8A1E-D45DAE5E4D72}"/>
                </a:ext>
              </a:extLst>
            </p:cNvPr>
            <p:cNvSpPr>
              <a:spLocks/>
            </p:cNvSpPr>
            <p:nvPr/>
          </p:nvSpPr>
          <p:spPr bwMode="auto">
            <a:xfrm>
              <a:off x="37703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354">
              <a:extLst>
                <a:ext uri="{FF2B5EF4-FFF2-40B4-BE49-F238E27FC236}">
                  <a16:creationId xmlns:a16="http://schemas.microsoft.com/office/drawing/2014/main" id="{F4EFE2BD-F44A-4201-91F8-7BA1756355BE}"/>
                </a:ext>
              </a:extLst>
            </p:cNvPr>
            <p:cNvSpPr>
              <a:spLocks noEditPoints="1"/>
            </p:cNvSpPr>
            <p:nvPr/>
          </p:nvSpPr>
          <p:spPr bwMode="auto">
            <a:xfrm>
              <a:off x="4121151" y="2130425"/>
              <a:ext cx="300038" cy="414338"/>
            </a:xfrm>
            <a:custGeom>
              <a:avLst/>
              <a:gdLst>
                <a:gd name="T0" fmla="*/ 284 w 4234"/>
                <a:gd name="T1" fmla="*/ 5557 h 5841"/>
                <a:gd name="T2" fmla="*/ 3950 w 4234"/>
                <a:gd name="T3" fmla="*/ 5557 h 5841"/>
                <a:gd name="T4" fmla="*/ 3950 w 4234"/>
                <a:gd name="T5" fmla="*/ 1739 h 5841"/>
                <a:gd name="T6" fmla="*/ 3894 w 4234"/>
                <a:gd name="T7" fmla="*/ 1711 h 5841"/>
                <a:gd name="T8" fmla="*/ 2216 w 4234"/>
                <a:gd name="T9" fmla="*/ 331 h 5841"/>
                <a:gd name="T10" fmla="*/ 286 w 4234"/>
                <a:gd name="T11" fmla="*/ 1715 h 5841"/>
                <a:gd name="T12" fmla="*/ 284 w 4234"/>
                <a:gd name="T13" fmla="*/ 1716 h 5841"/>
                <a:gd name="T14" fmla="*/ 284 w 4234"/>
                <a:gd name="T15" fmla="*/ 5557 h 5841"/>
                <a:gd name="T16" fmla="*/ 4092 w 4234"/>
                <a:gd name="T17" fmla="*/ 5841 h 5841"/>
                <a:gd name="T18" fmla="*/ 142 w 4234"/>
                <a:gd name="T19" fmla="*/ 5841 h 5841"/>
                <a:gd name="T20" fmla="*/ 0 w 4234"/>
                <a:gd name="T21" fmla="*/ 5700 h 5841"/>
                <a:gd name="T22" fmla="*/ 0 w 4234"/>
                <a:gd name="T23" fmla="*/ 1599 h 5841"/>
                <a:gd name="T24" fmla="*/ 142 w 4234"/>
                <a:gd name="T25" fmla="*/ 1458 h 5841"/>
                <a:gd name="T26" fmla="*/ 158 w 4234"/>
                <a:gd name="T27" fmla="*/ 1458 h 5841"/>
                <a:gd name="T28" fmla="*/ 2139 w 4234"/>
                <a:gd name="T29" fmla="*/ 37 h 5841"/>
                <a:gd name="T30" fmla="*/ 2312 w 4234"/>
                <a:gd name="T31" fmla="*/ 43 h 5841"/>
                <a:gd name="T32" fmla="*/ 4030 w 4234"/>
                <a:gd name="T33" fmla="*/ 1456 h 5841"/>
                <a:gd name="T34" fmla="*/ 4082 w 4234"/>
                <a:gd name="T35" fmla="*/ 1452 h 5841"/>
                <a:gd name="T36" fmla="*/ 4189 w 4234"/>
                <a:gd name="T37" fmla="*/ 1490 h 5841"/>
                <a:gd name="T38" fmla="*/ 4234 w 4234"/>
                <a:gd name="T39" fmla="*/ 1594 h 5841"/>
                <a:gd name="T40" fmla="*/ 4234 w 4234"/>
                <a:gd name="T41" fmla="*/ 5700 h 5841"/>
                <a:gd name="T42" fmla="*/ 4092 w 4234"/>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4" h="5841">
                  <a:moveTo>
                    <a:pt x="284" y="5557"/>
                  </a:moveTo>
                  <a:lnTo>
                    <a:pt x="3950" y="5557"/>
                  </a:lnTo>
                  <a:lnTo>
                    <a:pt x="3950" y="1739"/>
                  </a:lnTo>
                  <a:cubicBezTo>
                    <a:pt x="3930" y="1734"/>
                    <a:pt x="3911" y="1724"/>
                    <a:pt x="3894" y="1711"/>
                  </a:cubicBezTo>
                  <a:lnTo>
                    <a:pt x="2216" y="331"/>
                  </a:lnTo>
                  <a:lnTo>
                    <a:pt x="286" y="1715"/>
                  </a:lnTo>
                  <a:cubicBezTo>
                    <a:pt x="285" y="1715"/>
                    <a:pt x="285" y="1715"/>
                    <a:pt x="284" y="1716"/>
                  </a:cubicBezTo>
                  <a:lnTo>
                    <a:pt x="284" y="5557"/>
                  </a:lnTo>
                  <a:close/>
                  <a:moveTo>
                    <a:pt x="4092" y="5841"/>
                  </a:moveTo>
                  <a:lnTo>
                    <a:pt x="142" y="5841"/>
                  </a:lnTo>
                  <a:cubicBezTo>
                    <a:pt x="64" y="5841"/>
                    <a:pt x="0" y="5778"/>
                    <a:pt x="0" y="5700"/>
                  </a:cubicBezTo>
                  <a:lnTo>
                    <a:pt x="0" y="1599"/>
                  </a:lnTo>
                  <a:cubicBezTo>
                    <a:pt x="0" y="1521"/>
                    <a:pt x="64" y="1458"/>
                    <a:pt x="142" y="1458"/>
                  </a:cubicBezTo>
                  <a:lnTo>
                    <a:pt x="158" y="1458"/>
                  </a:lnTo>
                  <a:lnTo>
                    <a:pt x="2139" y="37"/>
                  </a:lnTo>
                  <a:cubicBezTo>
                    <a:pt x="2192" y="0"/>
                    <a:pt x="2262" y="3"/>
                    <a:pt x="2312" y="43"/>
                  </a:cubicBezTo>
                  <a:lnTo>
                    <a:pt x="4030" y="1456"/>
                  </a:lnTo>
                  <a:lnTo>
                    <a:pt x="4082" y="1452"/>
                  </a:lnTo>
                  <a:cubicBezTo>
                    <a:pt x="4121" y="1449"/>
                    <a:pt x="4160" y="1463"/>
                    <a:pt x="4189" y="1490"/>
                  </a:cubicBezTo>
                  <a:cubicBezTo>
                    <a:pt x="4217" y="1517"/>
                    <a:pt x="4234" y="1554"/>
                    <a:pt x="4234" y="1594"/>
                  </a:cubicBezTo>
                  <a:lnTo>
                    <a:pt x="4234" y="5700"/>
                  </a:lnTo>
                  <a:cubicBezTo>
                    <a:pt x="4234" y="5778"/>
                    <a:pt x="4170" y="5841"/>
                    <a:pt x="4092"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Freeform 1355">
              <a:extLst>
                <a:ext uri="{FF2B5EF4-FFF2-40B4-BE49-F238E27FC236}">
                  <a16:creationId xmlns:a16="http://schemas.microsoft.com/office/drawing/2014/main" id="{08315321-B80C-4355-8418-CE9413F8002C}"/>
                </a:ext>
              </a:extLst>
            </p:cNvPr>
            <p:cNvSpPr>
              <a:spLocks/>
            </p:cNvSpPr>
            <p:nvPr/>
          </p:nvSpPr>
          <p:spPr bwMode="auto">
            <a:xfrm>
              <a:off x="41132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356">
              <a:extLst>
                <a:ext uri="{FF2B5EF4-FFF2-40B4-BE49-F238E27FC236}">
                  <a16:creationId xmlns:a16="http://schemas.microsoft.com/office/drawing/2014/main" id="{E0BE14B4-6FEC-4AAD-9BC1-5BDEF26C946B}"/>
                </a:ext>
              </a:extLst>
            </p:cNvPr>
            <p:cNvSpPr>
              <a:spLocks/>
            </p:cNvSpPr>
            <p:nvPr/>
          </p:nvSpPr>
          <p:spPr bwMode="auto">
            <a:xfrm>
              <a:off x="3924301" y="2093913"/>
              <a:ext cx="20638" cy="57150"/>
            </a:xfrm>
            <a:custGeom>
              <a:avLst/>
              <a:gdLst>
                <a:gd name="T0" fmla="*/ 142 w 283"/>
                <a:gd name="T1" fmla="*/ 800 h 800"/>
                <a:gd name="T2" fmla="*/ 0 w 283"/>
                <a:gd name="T3" fmla="*/ 658 h 800"/>
                <a:gd name="T4" fmla="*/ 0 w 283"/>
                <a:gd name="T5" fmla="*/ 141 h 800"/>
                <a:gd name="T6" fmla="*/ 142 w 283"/>
                <a:gd name="T7" fmla="*/ 0 h 800"/>
                <a:gd name="T8" fmla="*/ 283 w 283"/>
                <a:gd name="T9" fmla="*/ 141 h 800"/>
                <a:gd name="T10" fmla="*/ 283 w 283"/>
                <a:gd name="T11" fmla="*/ 658 h 800"/>
                <a:gd name="T12" fmla="*/ 142 w 283"/>
                <a:gd name="T13" fmla="*/ 800 h 800"/>
              </a:gdLst>
              <a:ahLst/>
              <a:cxnLst>
                <a:cxn ang="0">
                  <a:pos x="T0" y="T1"/>
                </a:cxn>
                <a:cxn ang="0">
                  <a:pos x="T2" y="T3"/>
                </a:cxn>
                <a:cxn ang="0">
                  <a:pos x="T4" y="T5"/>
                </a:cxn>
                <a:cxn ang="0">
                  <a:pos x="T6" y="T7"/>
                </a:cxn>
                <a:cxn ang="0">
                  <a:pos x="T8" y="T9"/>
                </a:cxn>
                <a:cxn ang="0">
                  <a:pos x="T10" y="T11"/>
                </a:cxn>
                <a:cxn ang="0">
                  <a:pos x="T12" y="T13"/>
                </a:cxn>
              </a:cxnLst>
              <a:rect l="0" t="0" r="r" b="b"/>
              <a:pathLst>
                <a:path w="283" h="800">
                  <a:moveTo>
                    <a:pt x="142" y="800"/>
                  </a:moveTo>
                  <a:cubicBezTo>
                    <a:pt x="64" y="800"/>
                    <a:pt x="0" y="736"/>
                    <a:pt x="0" y="658"/>
                  </a:cubicBezTo>
                  <a:lnTo>
                    <a:pt x="0" y="141"/>
                  </a:lnTo>
                  <a:cubicBezTo>
                    <a:pt x="0" y="63"/>
                    <a:pt x="64" y="0"/>
                    <a:pt x="142" y="0"/>
                  </a:cubicBezTo>
                  <a:cubicBezTo>
                    <a:pt x="220" y="0"/>
                    <a:pt x="283" y="63"/>
                    <a:pt x="283" y="141"/>
                  </a:cubicBezTo>
                  <a:lnTo>
                    <a:pt x="283" y="658"/>
                  </a:lnTo>
                  <a:cubicBezTo>
                    <a:pt x="283" y="736"/>
                    <a:pt x="220" y="800"/>
                    <a:pt x="142" y="8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357">
              <a:extLst>
                <a:ext uri="{FF2B5EF4-FFF2-40B4-BE49-F238E27FC236}">
                  <a16:creationId xmlns:a16="http://schemas.microsoft.com/office/drawing/2014/main" id="{4149AA15-FFD9-4FDD-A390-51F3D8E1E390}"/>
                </a:ext>
              </a:extLst>
            </p:cNvPr>
            <p:cNvSpPr>
              <a:spLocks/>
            </p:cNvSpPr>
            <p:nvPr/>
          </p:nvSpPr>
          <p:spPr bwMode="auto">
            <a:xfrm>
              <a:off x="4267201" y="2098675"/>
              <a:ext cx="20638" cy="52388"/>
            </a:xfrm>
            <a:custGeom>
              <a:avLst/>
              <a:gdLst>
                <a:gd name="T0" fmla="*/ 142 w 283"/>
                <a:gd name="T1" fmla="*/ 734 h 734"/>
                <a:gd name="T2" fmla="*/ 0 w 283"/>
                <a:gd name="T3" fmla="*/ 592 h 734"/>
                <a:gd name="T4" fmla="*/ 0 w 283"/>
                <a:gd name="T5" fmla="*/ 142 h 734"/>
                <a:gd name="T6" fmla="*/ 142 w 283"/>
                <a:gd name="T7" fmla="*/ 0 h 734"/>
                <a:gd name="T8" fmla="*/ 283 w 283"/>
                <a:gd name="T9" fmla="*/ 142 h 734"/>
                <a:gd name="T10" fmla="*/ 283 w 283"/>
                <a:gd name="T11" fmla="*/ 592 h 734"/>
                <a:gd name="T12" fmla="*/ 142 w 283"/>
                <a:gd name="T13" fmla="*/ 734 h 734"/>
              </a:gdLst>
              <a:ahLst/>
              <a:cxnLst>
                <a:cxn ang="0">
                  <a:pos x="T0" y="T1"/>
                </a:cxn>
                <a:cxn ang="0">
                  <a:pos x="T2" y="T3"/>
                </a:cxn>
                <a:cxn ang="0">
                  <a:pos x="T4" y="T5"/>
                </a:cxn>
                <a:cxn ang="0">
                  <a:pos x="T6" y="T7"/>
                </a:cxn>
                <a:cxn ang="0">
                  <a:pos x="T8" y="T9"/>
                </a:cxn>
                <a:cxn ang="0">
                  <a:pos x="T10" y="T11"/>
                </a:cxn>
                <a:cxn ang="0">
                  <a:pos x="T12" y="T13"/>
                </a:cxn>
              </a:cxnLst>
              <a:rect l="0" t="0" r="r" b="b"/>
              <a:pathLst>
                <a:path w="283" h="734">
                  <a:moveTo>
                    <a:pt x="142" y="734"/>
                  </a:moveTo>
                  <a:cubicBezTo>
                    <a:pt x="64" y="734"/>
                    <a:pt x="0" y="670"/>
                    <a:pt x="0" y="592"/>
                  </a:cubicBezTo>
                  <a:lnTo>
                    <a:pt x="0" y="142"/>
                  </a:lnTo>
                  <a:cubicBezTo>
                    <a:pt x="0" y="64"/>
                    <a:pt x="64" y="0"/>
                    <a:pt x="142" y="0"/>
                  </a:cubicBezTo>
                  <a:cubicBezTo>
                    <a:pt x="220" y="0"/>
                    <a:pt x="283" y="64"/>
                    <a:pt x="283" y="142"/>
                  </a:cubicBezTo>
                  <a:lnTo>
                    <a:pt x="283" y="592"/>
                  </a:lnTo>
                  <a:cubicBezTo>
                    <a:pt x="283" y="670"/>
                    <a:pt x="220" y="734"/>
                    <a:pt x="142" y="7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1358">
              <a:extLst>
                <a:ext uri="{FF2B5EF4-FFF2-40B4-BE49-F238E27FC236}">
                  <a16:creationId xmlns:a16="http://schemas.microsoft.com/office/drawing/2014/main" id="{637F4751-CB69-4CE4-A997-1F121B5C238D}"/>
                </a:ext>
              </a:extLst>
            </p:cNvPr>
            <p:cNvSpPr>
              <a:spLocks/>
            </p:cNvSpPr>
            <p:nvPr/>
          </p:nvSpPr>
          <p:spPr bwMode="auto">
            <a:xfrm>
              <a:off x="3924301" y="2092325"/>
              <a:ext cx="363538" cy="20638"/>
            </a:xfrm>
            <a:custGeom>
              <a:avLst/>
              <a:gdLst>
                <a:gd name="T0" fmla="*/ 4991 w 5133"/>
                <a:gd name="T1" fmla="*/ 283 h 283"/>
                <a:gd name="T2" fmla="*/ 141 w 5133"/>
                <a:gd name="T3" fmla="*/ 283 h 283"/>
                <a:gd name="T4" fmla="*/ 0 w 5133"/>
                <a:gd name="T5" fmla="*/ 141 h 283"/>
                <a:gd name="T6" fmla="*/ 141 w 5133"/>
                <a:gd name="T7" fmla="*/ 0 h 283"/>
                <a:gd name="T8" fmla="*/ 4991 w 5133"/>
                <a:gd name="T9" fmla="*/ 0 h 283"/>
                <a:gd name="T10" fmla="*/ 5133 w 5133"/>
                <a:gd name="T11" fmla="*/ 141 h 283"/>
                <a:gd name="T12" fmla="*/ 4991 w 5133"/>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5133" h="283">
                  <a:moveTo>
                    <a:pt x="4991" y="283"/>
                  </a:moveTo>
                  <a:lnTo>
                    <a:pt x="141" y="283"/>
                  </a:lnTo>
                  <a:cubicBezTo>
                    <a:pt x="63" y="283"/>
                    <a:pt x="0" y="220"/>
                    <a:pt x="0" y="141"/>
                  </a:cubicBezTo>
                  <a:cubicBezTo>
                    <a:pt x="0" y="63"/>
                    <a:pt x="63" y="0"/>
                    <a:pt x="141" y="0"/>
                  </a:cubicBezTo>
                  <a:lnTo>
                    <a:pt x="4991" y="0"/>
                  </a:lnTo>
                  <a:cubicBezTo>
                    <a:pt x="5070" y="0"/>
                    <a:pt x="5133" y="63"/>
                    <a:pt x="5133" y="141"/>
                  </a:cubicBezTo>
                  <a:cubicBezTo>
                    <a:pt x="5133" y="220"/>
                    <a:pt x="5070" y="283"/>
                    <a:pt x="4991"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1359">
              <a:extLst>
                <a:ext uri="{FF2B5EF4-FFF2-40B4-BE49-F238E27FC236}">
                  <a16:creationId xmlns:a16="http://schemas.microsoft.com/office/drawing/2014/main" id="{AE269DB1-A293-4245-8F03-A6255ACB00E6}"/>
                </a:ext>
              </a:extLst>
            </p:cNvPr>
            <p:cNvSpPr>
              <a:spLocks/>
            </p:cNvSpPr>
            <p:nvPr/>
          </p:nvSpPr>
          <p:spPr bwMode="auto">
            <a:xfrm>
              <a:off x="3829051"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1360">
              <a:extLst>
                <a:ext uri="{FF2B5EF4-FFF2-40B4-BE49-F238E27FC236}">
                  <a16:creationId xmlns:a16="http://schemas.microsoft.com/office/drawing/2014/main" id="{032B9333-A9D6-4BB2-A09B-19AF2E7AED6F}"/>
                </a:ext>
              </a:extLst>
            </p:cNvPr>
            <p:cNvSpPr>
              <a:spLocks/>
            </p:cNvSpPr>
            <p:nvPr/>
          </p:nvSpPr>
          <p:spPr bwMode="auto">
            <a:xfrm>
              <a:off x="3884613"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1361">
              <a:extLst>
                <a:ext uri="{FF2B5EF4-FFF2-40B4-BE49-F238E27FC236}">
                  <a16:creationId xmlns:a16="http://schemas.microsoft.com/office/drawing/2014/main" id="{391D2499-66CC-4D60-91CC-DC5CDFA67FC6}"/>
                </a:ext>
              </a:extLst>
            </p:cNvPr>
            <p:cNvSpPr>
              <a:spLocks/>
            </p:cNvSpPr>
            <p:nvPr/>
          </p:nvSpPr>
          <p:spPr bwMode="auto">
            <a:xfrm>
              <a:off x="3937001"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1362">
              <a:extLst>
                <a:ext uri="{FF2B5EF4-FFF2-40B4-BE49-F238E27FC236}">
                  <a16:creationId xmlns:a16="http://schemas.microsoft.com/office/drawing/2014/main" id="{183E958D-25DE-4F4F-A7F4-ED850DF3C0F5}"/>
                </a:ext>
              </a:extLst>
            </p:cNvPr>
            <p:cNvSpPr>
              <a:spLocks/>
            </p:cNvSpPr>
            <p:nvPr/>
          </p:nvSpPr>
          <p:spPr bwMode="auto">
            <a:xfrm>
              <a:off x="3997326"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1363">
              <a:extLst>
                <a:ext uri="{FF2B5EF4-FFF2-40B4-BE49-F238E27FC236}">
                  <a16:creationId xmlns:a16="http://schemas.microsoft.com/office/drawing/2014/main" id="{404B78AB-3539-418A-9FFE-15CE5DC64092}"/>
                </a:ext>
              </a:extLst>
            </p:cNvPr>
            <p:cNvSpPr>
              <a:spLocks/>
            </p:cNvSpPr>
            <p:nvPr/>
          </p:nvSpPr>
          <p:spPr bwMode="auto">
            <a:xfrm>
              <a:off x="4178301"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1364">
              <a:extLst>
                <a:ext uri="{FF2B5EF4-FFF2-40B4-BE49-F238E27FC236}">
                  <a16:creationId xmlns:a16="http://schemas.microsoft.com/office/drawing/2014/main" id="{81E71CAD-4C6A-4596-BE5E-739368F1DC06}"/>
                </a:ext>
              </a:extLst>
            </p:cNvPr>
            <p:cNvSpPr>
              <a:spLocks/>
            </p:cNvSpPr>
            <p:nvPr/>
          </p:nvSpPr>
          <p:spPr bwMode="auto">
            <a:xfrm>
              <a:off x="4233863"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1365">
              <a:extLst>
                <a:ext uri="{FF2B5EF4-FFF2-40B4-BE49-F238E27FC236}">
                  <a16:creationId xmlns:a16="http://schemas.microsoft.com/office/drawing/2014/main" id="{7D16E6BC-1D14-492F-86C1-D9FA8E63793F}"/>
                </a:ext>
              </a:extLst>
            </p:cNvPr>
            <p:cNvSpPr>
              <a:spLocks/>
            </p:cNvSpPr>
            <p:nvPr/>
          </p:nvSpPr>
          <p:spPr bwMode="auto">
            <a:xfrm>
              <a:off x="4286251" y="2293938"/>
              <a:ext cx="19050"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1366">
              <a:extLst>
                <a:ext uri="{FF2B5EF4-FFF2-40B4-BE49-F238E27FC236}">
                  <a16:creationId xmlns:a16="http://schemas.microsoft.com/office/drawing/2014/main" id="{9A1AD19F-054A-4494-AAA0-2811C7F1E5B1}"/>
                </a:ext>
              </a:extLst>
            </p:cNvPr>
            <p:cNvSpPr>
              <a:spLocks/>
            </p:cNvSpPr>
            <p:nvPr/>
          </p:nvSpPr>
          <p:spPr bwMode="auto">
            <a:xfrm>
              <a:off x="4344988"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5" name="TextBox 64">
            <a:extLst>
              <a:ext uri="{FF2B5EF4-FFF2-40B4-BE49-F238E27FC236}">
                <a16:creationId xmlns:a16="http://schemas.microsoft.com/office/drawing/2014/main" id="{9E4A0CCC-ED4F-4D68-BF95-E7547CE9C5DA}"/>
              </a:ext>
            </a:extLst>
          </p:cNvPr>
          <p:cNvSpPr txBox="1"/>
          <p:nvPr/>
        </p:nvSpPr>
        <p:spPr>
          <a:xfrm>
            <a:off x="4823260" y="4469540"/>
            <a:ext cx="2545480" cy="523220"/>
          </a:xfrm>
          <a:prstGeom prst="rect">
            <a:avLst/>
          </a:prstGeom>
          <a:noFill/>
        </p:spPr>
        <p:txBody>
          <a:bodyPr wrap="square" rtlCol="0">
            <a:spAutoFit/>
          </a:bodyPr>
          <a:lstStyle/>
          <a:p>
            <a:pPr algn="ctr"/>
            <a:r>
              <a:rPr lang="en-SG" sz="2800" dirty="0">
                <a:solidFill>
                  <a:schemeClr val="tx1">
                    <a:lumMod val="50000"/>
                    <a:lumOff val="50000"/>
                  </a:schemeClr>
                </a:solidFill>
                <a:latin typeface="Quicksand Book" panose="02070303000000060000" pitchFamily="18" charset="0"/>
              </a:rPr>
              <a:t>HOMEBO</a:t>
            </a:r>
          </a:p>
        </p:txBody>
      </p:sp>
      <p:grpSp>
        <p:nvGrpSpPr>
          <p:cNvPr id="49" name="Silos" descr="{&quot;Key&quot;:&quot;POWER_USER_SHAPE_ICON&quot;,&quot;Value&quot;:&quot;POWER_USER_SHAPE_ICON_STYLE_1&quot;}">
            <a:extLst>
              <a:ext uri="{FF2B5EF4-FFF2-40B4-BE49-F238E27FC236}">
                <a16:creationId xmlns:a16="http://schemas.microsoft.com/office/drawing/2014/main" id="{F18A6C68-C7EE-4E12-92FB-4A36A811E264}"/>
              </a:ext>
            </a:extLst>
          </p:cNvPr>
          <p:cNvGrpSpPr>
            <a:grpSpLocks noChangeAspect="1"/>
          </p:cNvGrpSpPr>
          <p:nvPr>
            <p:custDataLst>
              <p:tags r:id="rId3"/>
            </p:custDataLst>
          </p:nvPr>
        </p:nvGrpSpPr>
        <p:grpSpPr>
          <a:xfrm>
            <a:off x="8257591" y="2494835"/>
            <a:ext cx="2680440" cy="1845232"/>
            <a:chOff x="3770313" y="2092325"/>
            <a:chExt cx="657225" cy="452438"/>
          </a:xfrm>
          <a:solidFill>
            <a:schemeClr val="tx1">
              <a:lumMod val="65000"/>
              <a:lumOff val="35000"/>
            </a:schemeClr>
          </a:solidFill>
        </p:grpSpPr>
        <p:sp>
          <p:nvSpPr>
            <p:cNvPr id="50" name="Freeform 1352">
              <a:extLst>
                <a:ext uri="{FF2B5EF4-FFF2-40B4-BE49-F238E27FC236}">
                  <a16:creationId xmlns:a16="http://schemas.microsoft.com/office/drawing/2014/main" id="{1FDBE6F8-35F6-45CD-976C-7C851808B8CC}"/>
                </a:ext>
              </a:extLst>
            </p:cNvPr>
            <p:cNvSpPr>
              <a:spLocks noEditPoints="1"/>
            </p:cNvSpPr>
            <p:nvPr/>
          </p:nvSpPr>
          <p:spPr bwMode="auto">
            <a:xfrm>
              <a:off x="3778251" y="2130425"/>
              <a:ext cx="298450" cy="414338"/>
            </a:xfrm>
            <a:custGeom>
              <a:avLst/>
              <a:gdLst>
                <a:gd name="T0" fmla="*/ 283 w 4233"/>
                <a:gd name="T1" fmla="*/ 5558 h 5841"/>
                <a:gd name="T2" fmla="*/ 3950 w 4233"/>
                <a:gd name="T3" fmla="*/ 5558 h 5841"/>
                <a:gd name="T4" fmla="*/ 3950 w 4233"/>
                <a:gd name="T5" fmla="*/ 1738 h 5841"/>
                <a:gd name="T6" fmla="*/ 3897 w 4233"/>
                <a:gd name="T7" fmla="*/ 1711 h 5841"/>
                <a:gd name="T8" fmla="*/ 2223 w 4233"/>
                <a:gd name="T9" fmla="*/ 331 h 5841"/>
                <a:gd name="T10" fmla="*/ 293 w 4233"/>
                <a:gd name="T11" fmla="*/ 1714 h 5841"/>
                <a:gd name="T12" fmla="*/ 283 w 4233"/>
                <a:gd name="T13" fmla="*/ 1721 h 5841"/>
                <a:gd name="T14" fmla="*/ 283 w 4233"/>
                <a:gd name="T15" fmla="*/ 5558 h 5841"/>
                <a:gd name="T16" fmla="*/ 4091 w 4233"/>
                <a:gd name="T17" fmla="*/ 5841 h 5841"/>
                <a:gd name="T18" fmla="*/ 141 w 4233"/>
                <a:gd name="T19" fmla="*/ 5841 h 5841"/>
                <a:gd name="T20" fmla="*/ 0 w 4233"/>
                <a:gd name="T21" fmla="*/ 5699 h 5841"/>
                <a:gd name="T22" fmla="*/ 0 w 4233"/>
                <a:gd name="T23" fmla="*/ 1599 h 5841"/>
                <a:gd name="T24" fmla="*/ 141 w 4233"/>
                <a:gd name="T25" fmla="*/ 1457 h 5841"/>
                <a:gd name="T26" fmla="*/ 165 w 4233"/>
                <a:gd name="T27" fmla="*/ 1457 h 5841"/>
                <a:gd name="T28" fmla="*/ 2146 w 4233"/>
                <a:gd name="T29" fmla="*/ 38 h 5841"/>
                <a:gd name="T30" fmla="*/ 2319 w 4233"/>
                <a:gd name="T31" fmla="*/ 43 h 5841"/>
                <a:gd name="T32" fmla="*/ 4033 w 4233"/>
                <a:gd name="T33" fmla="*/ 1456 h 5841"/>
                <a:gd name="T34" fmla="*/ 4081 w 4233"/>
                <a:gd name="T35" fmla="*/ 1452 h 5841"/>
                <a:gd name="T36" fmla="*/ 4188 w 4233"/>
                <a:gd name="T37" fmla="*/ 1489 h 5841"/>
                <a:gd name="T38" fmla="*/ 4233 w 4233"/>
                <a:gd name="T39" fmla="*/ 1593 h 5841"/>
                <a:gd name="T40" fmla="*/ 4233 w 4233"/>
                <a:gd name="T41" fmla="*/ 5699 h 5841"/>
                <a:gd name="T42" fmla="*/ 4091 w 4233"/>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3" h="5841">
                  <a:moveTo>
                    <a:pt x="283" y="5558"/>
                  </a:moveTo>
                  <a:lnTo>
                    <a:pt x="3950" y="5558"/>
                  </a:lnTo>
                  <a:lnTo>
                    <a:pt x="3950" y="1738"/>
                  </a:lnTo>
                  <a:cubicBezTo>
                    <a:pt x="3931" y="1732"/>
                    <a:pt x="3913" y="1723"/>
                    <a:pt x="3897" y="1711"/>
                  </a:cubicBezTo>
                  <a:lnTo>
                    <a:pt x="2223" y="331"/>
                  </a:lnTo>
                  <a:lnTo>
                    <a:pt x="293" y="1714"/>
                  </a:lnTo>
                  <a:cubicBezTo>
                    <a:pt x="290" y="1716"/>
                    <a:pt x="286" y="1719"/>
                    <a:pt x="283" y="1721"/>
                  </a:cubicBezTo>
                  <a:lnTo>
                    <a:pt x="283" y="5558"/>
                  </a:lnTo>
                  <a:close/>
                  <a:moveTo>
                    <a:pt x="4091" y="5841"/>
                  </a:moveTo>
                  <a:lnTo>
                    <a:pt x="141" y="5841"/>
                  </a:lnTo>
                  <a:cubicBezTo>
                    <a:pt x="63" y="5841"/>
                    <a:pt x="0" y="5777"/>
                    <a:pt x="0" y="5699"/>
                  </a:cubicBezTo>
                  <a:lnTo>
                    <a:pt x="0" y="1599"/>
                  </a:lnTo>
                  <a:cubicBezTo>
                    <a:pt x="0" y="1521"/>
                    <a:pt x="63" y="1457"/>
                    <a:pt x="141" y="1457"/>
                  </a:cubicBezTo>
                  <a:lnTo>
                    <a:pt x="165" y="1457"/>
                  </a:lnTo>
                  <a:lnTo>
                    <a:pt x="2146" y="38"/>
                  </a:lnTo>
                  <a:cubicBezTo>
                    <a:pt x="2198" y="0"/>
                    <a:pt x="2269" y="2"/>
                    <a:pt x="2319" y="43"/>
                  </a:cubicBezTo>
                  <a:lnTo>
                    <a:pt x="4033" y="1456"/>
                  </a:lnTo>
                  <a:lnTo>
                    <a:pt x="4081" y="1452"/>
                  </a:lnTo>
                  <a:cubicBezTo>
                    <a:pt x="4120" y="1449"/>
                    <a:pt x="4159" y="1463"/>
                    <a:pt x="4188" y="1489"/>
                  </a:cubicBezTo>
                  <a:cubicBezTo>
                    <a:pt x="4217" y="1516"/>
                    <a:pt x="4233" y="1554"/>
                    <a:pt x="4233" y="1593"/>
                  </a:cubicBezTo>
                  <a:lnTo>
                    <a:pt x="4233" y="5699"/>
                  </a:lnTo>
                  <a:cubicBezTo>
                    <a:pt x="4233" y="5777"/>
                    <a:pt x="4170" y="5841"/>
                    <a:pt x="4091"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1353">
              <a:extLst>
                <a:ext uri="{FF2B5EF4-FFF2-40B4-BE49-F238E27FC236}">
                  <a16:creationId xmlns:a16="http://schemas.microsoft.com/office/drawing/2014/main" id="{A24F054B-48B6-45E0-B1DB-5AC5ACC9ABCB}"/>
                </a:ext>
              </a:extLst>
            </p:cNvPr>
            <p:cNvSpPr>
              <a:spLocks/>
            </p:cNvSpPr>
            <p:nvPr/>
          </p:nvSpPr>
          <p:spPr bwMode="auto">
            <a:xfrm>
              <a:off x="37703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1354">
              <a:extLst>
                <a:ext uri="{FF2B5EF4-FFF2-40B4-BE49-F238E27FC236}">
                  <a16:creationId xmlns:a16="http://schemas.microsoft.com/office/drawing/2014/main" id="{C4A50BBF-EF53-4685-9A46-D05B13B59CB0}"/>
                </a:ext>
              </a:extLst>
            </p:cNvPr>
            <p:cNvSpPr>
              <a:spLocks noEditPoints="1"/>
            </p:cNvSpPr>
            <p:nvPr/>
          </p:nvSpPr>
          <p:spPr bwMode="auto">
            <a:xfrm>
              <a:off x="4121151" y="2130425"/>
              <a:ext cx="300038" cy="414338"/>
            </a:xfrm>
            <a:custGeom>
              <a:avLst/>
              <a:gdLst>
                <a:gd name="T0" fmla="*/ 284 w 4234"/>
                <a:gd name="T1" fmla="*/ 5557 h 5841"/>
                <a:gd name="T2" fmla="*/ 3950 w 4234"/>
                <a:gd name="T3" fmla="*/ 5557 h 5841"/>
                <a:gd name="T4" fmla="*/ 3950 w 4234"/>
                <a:gd name="T5" fmla="*/ 1739 h 5841"/>
                <a:gd name="T6" fmla="*/ 3894 w 4234"/>
                <a:gd name="T7" fmla="*/ 1711 h 5841"/>
                <a:gd name="T8" fmla="*/ 2216 w 4234"/>
                <a:gd name="T9" fmla="*/ 331 h 5841"/>
                <a:gd name="T10" fmla="*/ 286 w 4234"/>
                <a:gd name="T11" fmla="*/ 1715 h 5841"/>
                <a:gd name="T12" fmla="*/ 284 w 4234"/>
                <a:gd name="T13" fmla="*/ 1716 h 5841"/>
                <a:gd name="T14" fmla="*/ 284 w 4234"/>
                <a:gd name="T15" fmla="*/ 5557 h 5841"/>
                <a:gd name="T16" fmla="*/ 4092 w 4234"/>
                <a:gd name="T17" fmla="*/ 5841 h 5841"/>
                <a:gd name="T18" fmla="*/ 142 w 4234"/>
                <a:gd name="T19" fmla="*/ 5841 h 5841"/>
                <a:gd name="T20" fmla="*/ 0 w 4234"/>
                <a:gd name="T21" fmla="*/ 5700 h 5841"/>
                <a:gd name="T22" fmla="*/ 0 w 4234"/>
                <a:gd name="T23" fmla="*/ 1599 h 5841"/>
                <a:gd name="T24" fmla="*/ 142 w 4234"/>
                <a:gd name="T25" fmla="*/ 1458 h 5841"/>
                <a:gd name="T26" fmla="*/ 158 w 4234"/>
                <a:gd name="T27" fmla="*/ 1458 h 5841"/>
                <a:gd name="T28" fmla="*/ 2139 w 4234"/>
                <a:gd name="T29" fmla="*/ 37 h 5841"/>
                <a:gd name="T30" fmla="*/ 2312 w 4234"/>
                <a:gd name="T31" fmla="*/ 43 h 5841"/>
                <a:gd name="T32" fmla="*/ 4030 w 4234"/>
                <a:gd name="T33" fmla="*/ 1456 h 5841"/>
                <a:gd name="T34" fmla="*/ 4082 w 4234"/>
                <a:gd name="T35" fmla="*/ 1452 h 5841"/>
                <a:gd name="T36" fmla="*/ 4189 w 4234"/>
                <a:gd name="T37" fmla="*/ 1490 h 5841"/>
                <a:gd name="T38" fmla="*/ 4234 w 4234"/>
                <a:gd name="T39" fmla="*/ 1594 h 5841"/>
                <a:gd name="T40" fmla="*/ 4234 w 4234"/>
                <a:gd name="T41" fmla="*/ 5700 h 5841"/>
                <a:gd name="T42" fmla="*/ 4092 w 4234"/>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4" h="5841">
                  <a:moveTo>
                    <a:pt x="284" y="5557"/>
                  </a:moveTo>
                  <a:lnTo>
                    <a:pt x="3950" y="5557"/>
                  </a:lnTo>
                  <a:lnTo>
                    <a:pt x="3950" y="1739"/>
                  </a:lnTo>
                  <a:cubicBezTo>
                    <a:pt x="3930" y="1734"/>
                    <a:pt x="3911" y="1724"/>
                    <a:pt x="3894" y="1711"/>
                  </a:cubicBezTo>
                  <a:lnTo>
                    <a:pt x="2216" y="331"/>
                  </a:lnTo>
                  <a:lnTo>
                    <a:pt x="286" y="1715"/>
                  </a:lnTo>
                  <a:cubicBezTo>
                    <a:pt x="285" y="1715"/>
                    <a:pt x="285" y="1715"/>
                    <a:pt x="284" y="1716"/>
                  </a:cubicBezTo>
                  <a:lnTo>
                    <a:pt x="284" y="5557"/>
                  </a:lnTo>
                  <a:close/>
                  <a:moveTo>
                    <a:pt x="4092" y="5841"/>
                  </a:moveTo>
                  <a:lnTo>
                    <a:pt x="142" y="5841"/>
                  </a:lnTo>
                  <a:cubicBezTo>
                    <a:pt x="64" y="5841"/>
                    <a:pt x="0" y="5778"/>
                    <a:pt x="0" y="5700"/>
                  </a:cubicBezTo>
                  <a:lnTo>
                    <a:pt x="0" y="1599"/>
                  </a:lnTo>
                  <a:cubicBezTo>
                    <a:pt x="0" y="1521"/>
                    <a:pt x="64" y="1458"/>
                    <a:pt x="142" y="1458"/>
                  </a:cubicBezTo>
                  <a:lnTo>
                    <a:pt x="158" y="1458"/>
                  </a:lnTo>
                  <a:lnTo>
                    <a:pt x="2139" y="37"/>
                  </a:lnTo>
                  <a:cubicBezTo>
                    <a:pt x="2192" y="0"/>
                    <a:pt x="2262" y="3"/>
                    <a:pt x="2312" y="43"/>
                  </a:cubicBezTo>
                  <a:lnTo>
                    <a:pt x="4030" y="1456"/>
                  </a:lnTo>
                  <a:lnTo>
                    <a:pt x="4082" y="1452"/>
                  </a:lnTo>
                  <a:cubicBezTo>
                    <a:pt x="4121" y="1449"/>
                    <a:pt x="4160" y="1463"/>
                    <a:pt x="4189" y="1490"/>
                  </a:cubicBezTo>
                  <a:cubicBezTo>
                    <a:pt x="4217" y="1517"/>
                    <a:pt x="4234" y="1554"/>
                    <a:pt x="4234" y="1594"/>
                  </a:cubicBezTo>
                  <a:lnTo>
                    <a:pt x="4234" y="5700"/>
                  </a:lnTo>
                  <a:cubicBezTo>
                    <a:pt x="4234" y="5778"/>
                    <a:pt x="4170" y="5841"/>
                    <a:pt x="4092"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1355">
              <a:extLst>
                <a:ext uri="{FF2B5EF4-FFF2-40B4-BE49-F238E27FC236}">
                  <a16:creationId xmlns:a16="http://schemas.microsoft.com/office/drawing/2014/main" id="{38B2F223-7788-4680-A403-CB3BA788FD79}"/>
                </a:ext>
              </a:extLst>
            </p:cNvPr>
            <p:cNvSpPr>
              <a:spLocks/>
            </p:cNvSpPr>
            <p:nvPr/>
          </p:nvSpPr>
          <p:spPr bwMode="auto">
            <a:xfrm>
              <a:off x="41132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1356">
              <a:extLst>
                <a:ext uri="{FF2B5EF4-FFF2-40B4-BE49-F238E27FC236}">
                  <a16:creationId xmlns:a16="http://schemas.microsoft.com/office/drawing/2014/main" id="{51F97F9C-BC31-49C6-8E5F-F3C74296C710}"/>
                </a:ext>
              </a:extLst>
            </p:cNvPr>
            <p:cNvSpPr>
              <a:spLocks/>
            </p:cNvSpPr>
            <p:nvPr/>
          </p:nvSpPr>
          <p:spPr bwMode="auto">
            <a:xfrm>
              <a:off x="3924301" y="2093913"/>
              <a:ext cx="20638" cy="57150"/>
            </a:xfrm>
            <a:custGeom>
              <a:avLst/>
              <a:gdLst>
                <a:gd name="T0" fmla="*/ 142 w 283"/>
                <a:gd name="T1" fmla="*/ 800 h 800"/>
                <a:gd name="T2" fmla="*/ 0 w 283"/>
                <a:gd name="T3" fmla="*/ 658 h 800"/>
                <a:gd name="T4" fmla="*/ 0 w 283"/>
                <a:gd name="T5" fmla="*/ 141 h 800"/>
                <a:gd name="T6" fmla="*/ 142 w 283"/>
                <a:gd name="T7" fmla="*/ 0 h 800"/>
                <a:gd name="T8" fmla="*/ 283 w 283"/>
                <a:gd name="T9" fmla="*/ 141 h 800"/>
                <a:gd name="T10" fmla="*/ 283 w 283"/>
                <a:gd name="T11" fmla="*/ 658 h 800"/>
                <a:gd name="T12" fmla="*/ 142 w 283"/>
                <a:gd name="T13" fmla="*/ 800 h 800"/>
              </a:gdLst>
              <a:ahLst/>
              <a:cxnLst>
                <a:cxn ang="0">
                  <a:pos x="T0" y="T1"/>
                </a:cxn>
                <a:cxn ang="0">
                  <a:pos x="T2" y="T3"/>
                </a:cxn>
                <a:cxn ang="0">
                  <a:pos x="T4" y="T5"/>
                </a:cxn>
                <a:cxn ang="0">
                  <a:pos x="T6" y="T7"/>
                </a:cxn>
                <a:cxn ang="0">
                  <a:pos x="T8" y="T9"/>
                </a:cxn>
                <a:cxn ang="0">
                  <a:pos x="T10" y="T11"/>
                </a:cxn>
                <a:cxn ang="0">
                  <a:pos x="T12" y="T13"/>
                </a:cxn>
              </a:cxnLst>
              <a:rect l="0" t="0" r="r" b="b"/>
              <a:pathLst>
                <a:path w="283" h="800">
                  <a:moveTo>
                    <a:pt x="142" y="800"/>
                  </a:moveTo>
                  <a:cubicBezTo>
                    <a:pt x="64" y="800"/>
                    <a:pt x="0" y="736"/>
                    <a:pt x="0" y="658"/>
                  </a:cubicBezTo>
                  <a:lnTo>
                    <a:pt x="0" y="141"/>
                  </a:lnTo>
                  <a:cubicBezTo>
                    <a:pt x="0" y="63"/>
                    <a:pt x="64" y="0"/>
                    <a:pt x="142" y="0"/>
                  </a:cubicBezTo>
                  <a:cubicBezTo>
                    <a:pt x="220" y="0"/>
                    <a:pt x="283" y="63"/>
                    <a:pt x="283" y="141"/>
                  </a:cubicBezTo>
                  <a:lnTo>
                    <a:pt x="283" y="658"/>
                  </a:lnTo>
                  <a:cubicBezTo>
                    <a:pt x="283" y="736"/>
                    <a:pt x="220" y="800"/>
                    <a:pt x="142" y="8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1357">
              <a:extLst>
                <a:ext uri="{FF2B5EF4-FFF2-40B4-BE49-F238E27FC236}">
                  <a16:creationId xmlns:a16="http://schemas.microsoft.com/office/drawing/2014/main" id="{24A25296-5CA7-4996-BBFE-2DAD25A99BD6}"/>
                </a:ext>
              </a:extLst>
            </p:cNvPr>
            <p:cNvSpPr>
              <a:spLocks/>
            </p:cNvSpPr>
            <p:nvPr/>
          </p:nvSpPr>
          <p:spPr bwMode="auto">
            <a:xfrm>
              <a:off x="4267201" y="2098675"/>
              <a:ext cx="20638" cy="52388"/>
            </a:xfrm>
            <a:custGeom>
              <a:avLst/>
              <a:gdLst>
                <a:gd name="T0" fmla="*/ 142 w 283"/>
                <a:gd name="T1" fmla="*/ 734 h 734"/>
                <a:gd name="T2" fmla="*/ 0 w 283"/>
                <a:gd name="T3" fmla="*/ 592 h 734"/>
                <a:gd name="T4" fmla="*/ 0 w 283"/>
                <a:gd name="T5" fmla="*/ 142 h 734"/>
                <a:gd name="T6" fmla="*/ 142 w 283"/>
                <a:gd name="T7" fmla="*/ 0 h 734"/>
                <a:gd name="T8" fmla="*/ 283 w 283"/>
                <a:gd name="T9" fmla="*/ 142 h 734"/>
                <a:gd name="T10" fmla="*/ 283 w 283"/>
                <a:gd name="T11" fmla="*/ 592 h 734"/>
                <a:gd name="T12" fmla="*/ 142 w 283"/>
                <a:gd name="T13" fmla="*/ 734 h 734"/>
              </a:gdLst>
              <a:ahLst/>
              <a:cxnLst>
                <a:cxn ang="0">
                  <a:pos x="T0" y="T1"/>
                </a:cxn>
                <a:cxn ang="0">
                  <a:pos x="T2" y="T3"/>
                </a:cxn>
                <a:cxn ang="0">
                  <a:pos x="T4" y="T5"/>
                </a:cxn>
                <a:cxn ang="0">
                  <a:pos x="T6" y="T7"/>
                </a:cxn>
                <a:cxn ang="0">
                  <a:pos x="T8" y="T9"/>
                </a:cxn>
                <a:cxn ang="0">
                  <a:pos x="T10" y="T11"/>
                </a:cxn>
                <a:cxn ang="0">
                  <a:pos x="T12" y="T13"/>
                </a:cxn>
              </a:cxnLst>
              <a:rect l="0" t="0" r="r" b="b"/>
              <a:pathLst>
                <a:path w="283" h="734">
                  <a:moveTo>
                    <a:pt x="142" y="734"/>
                  </a:moveTo>
                  <a:cubicBezTo>
                    <a:pt x="64" y="734"/>
                    <a:pt x="0" y="670"/>
                    <a:pt x="0" y="592"/>
                  </a:cubicBezTo>
                  <a:lnTo>
                    <a:pt x="0" y="142"/>
                  </a:lnTo>
                  <a:cubicBezTo>
                    <a:pt x="0" y="64"/>
                    <a:pt x="64" y="0"/>
                    <a:pt x="142" y="0"/>
                  </a:cubicBezTo>
                  <a:cubicBezTo>
                    <a:pt x="220" y="0"/>
                    <a:pt x="283" y="64"/>
                    <a:pt x="283" y="142"/>
                  </a:cubicBezTo>
                  <a:lnTo>
                    <a:pt x="283" y="592"/>
                  </a:lnTo>
                  <a:cubicBezTo>
                    <a:pt x="283" y="670"/>
                    <a:pt x="220" y="734"/>
                    <a:pt x="142" y="7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1358">
              <a:extLst>
                <a:ext uri="{FF2B5EF4-FFF2-40B4-BE49-F238E27FC236}">
                  <a16:creationId xmlns:a16="http://schemas.microsoft.com/office/drawing/2014/main" id="{0F6E1A2B-F8D1-41E4-AB55-9E1FA8DA5A46}"/>
                </a:ext>
              </a:extLst>
            </p:cNvPr>
            <p:cNvSpPr>
              <a:spLocks/>
            </p:cNvSpPr>
            <p:nvPr/>
          </p:nvSpPr>
          <p:spPr bwMode="auto">
            <a:xfrm>
              <a:off x="3924301" y="2092325"/>
              <a:ext cx="363538" cy="20638"/>
            </a:xfrm>
            <a:custGeom>
              <a:avLst/>
              <a:gdLst>
                <a:gd name="T0" fmla="*/ 4991 w 5133"/>
                <a:gd name="T1" fmla="*/ 283 h 283"/>
                <a:gd name="T2" fmla="*/ 141 w 5133"/>
                <a:gd name="T3" fmla="*/ 283 h 283"/>
                <a:gd name="T4" fmla="*/ 0 w 5133"/>
                <a:gd name="T5" fmla="*/ 141 h 283"/>
                <a:gd name="T6" fmla="*/ 141 w 5133"/>
                <a:gd name="T7" fmla="*/ 0 h 283"/>
                <a:gd name="T8" fmla="*/ 4991 w 5133"/>
                <a:gd name="T9" fmla="*/ 0 h 283"/>
                <a:gd name="T10" fmla="*/ 5133 w 5133"/>
                <a:gd name="T11" fmla="*/ 141 h 283"/>
                <a:gd name="T12" fmla="*/ 4991 w 5133"/>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5133" h="283">
                  <a:moveTo>
                    <a:pt x="4991" y="283"/>
                  </a:moveTo>
                  <a:lnTo>
                    <a:pt x="141" y="283"/>
                  </a:lnTo>
                  <a:cubicBezTo>
                    <a:pt x="63" y="283"/>
                    <a:pt x="0" y="220"/>
                    <a:pt x="0" y="141"/>
                  </a:cubicBezTo>
                  <a:cubicBezTo>
                    <a:pt x="0" y="63"/>
                    <a:pt x="63" y="0"/>
                    <a:pt x="141" y="0"/>
                  </a:cubicBezTo>
                  <a:lnTo>
                    <a:pt x="4991" y="0"/>
                  </a:lnTo>
                  <a:cubicBezTo>
                    <a:pt x="5070" y="0"/>
                    <a:pt x="5133" y="63"/>
                    <a:pt x="5133" y="141"/>
                  </a:cubicBezTo>
                  <a:cubicBezTo>
                    <a:pt x="5133" y="220"/>
                    <a:pt x="5070" y="283"/>
                    <a:pt x="4991"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1359">
              <a:extLst>
                <a:ext uri="{FF2B5EF4-FFF2-40B4-BE49-F238E27FC236}">
                  <a16:creationId xmlns:a16="http://schemas.microsoft.com/office/drawing/2014/main" id="{DCFA196D-49E0-4FAD-8822-F5D3B7919994}"/>
                </a:ext>
              </a:extLst>
            </p:cNvPr>
            <p:cNvSpPr>
              <a:spLocks/>
            </p:cNvSpPr>
            <p:nvPr/>
          </p:nvSpPr>
          <p:spPr bwMode="auto">
            <a:xfrm>
              <a:off x="3829051"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1360">
              <a:extLst>
                <a:ext uri="{FF2B5EF4-FFF2-40B4-BE49-F238E27FC236}">
                  <a16:creationId xmlns:a16="http://schemas.microsoft.com/office/drawing/2014/main" id="{6C7A4AE4-A355-4B1F-9361-9844AA10AD72}"/>
                </a:ext>
              </a:extLst>
            </p:cNvPr>
            <p:cNvSpPr>
              <a:spLocks/>
            </p:cNvSpPr>
            <p:nvPr/>
          </p:nvSpPr>
          <p:spPr bwMode="auto">
            <a:xfrm>
              <a:off x="3884613"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1361">
              <a:extLst>
                <a:ext uri="{FF2B5EF4-FFF2-40B4-BE49-F238E27FC236}">
                  <a16:creationId xmlns:a16="http://schemas.microsoft.com/office/drawing/2014/main" id="{9D0E65DC-F277-4D72-95BA-2DB68160E5AD}"/>
                </a:ext>
              </a:extLst>
            </p:cNvPr>
            <p:cNvSpPr>
              <a:spLocks/>
            </p:cNvSpPr>
            <p:nvPr/>
          </p:nvSpPr>
          <p:spPr bwMode="auto">
            <a:xfrm>
              <a:off x="3937001"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362">
              <a:extLst>
                <a:ext uri="{FF2B5EF4-FFF2-40B4-BE49-F238E27FC236}">
                  <a16:creationId xmlns:a16="http://schemas.microsoft.com/office/drawing/2014/main" id="{6A15DBD5-F0FC-4A16-A750-8D1C47149F99}"/>
                </a:ext>
              </a:extLst>
            </p:cNvPr>
            <p:cNvSpPr>
              <a:spLocks/>
            </p:cNvSpPr>
            <p:nvPr/>
          </p:nvSpPr>
          <p:spPr bwMode="auto">
            <a:xfrm>
              <a:off x="3997326"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1363">
              <a:extLst>
                <a:ext uri="{FF2B5EF4-FFF2-40B4-BE49-F238E27FC236}">
                  <a16:creationId xmlns:a16="http://schemas.microsoft.com/office/drawing/2014/main" id="{CDCC7593-23F0-4BD1-B0C0-5BD775488D77}"/>
                </a:ext>
              </a:extLst>
            </p:cNvPr>
            <p:cNvSpPr>
              <a:spLocks/>
            </p:cNvSpPr>
            <p:nvPr/>
          </p:nvSpPr>
          <p:spPr bwMode="auto">
            <a:xfrm>
              <a:off x="4178301"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1364">
              <a:extLst>
                <a:ext uri="{FF2B5EF4-FFF2-40B4-BE49-F238E27FC236}">
                  <a16:creationId xmlns:a16="http://schemas.microsoft.com/office/drawing/2014/main" id="{7E3C5A7F-470C-4FA8-B982-FA4D8C131FB3}"/>
                </a:ext>
              </a:extLst>
            </p:cNvPr>
            <p:cNvSpPr>
              <a:spLocks/>
            </p:cNvSpPr>
            <p:nvPr/>
          </p:nvSpPr>
          <p:spPr bwMode="auto">
            <a:xfrm>
              <a:off x="4233863"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365">
              <a:extLst>
                <a:ext uri="{FF2B5EF4-FFF2-40B4-BE49-F238E27FC236}">
                  <a16:creationId xmlns:a16="http://schemas.microsoft.com/office/drawing/2014/main" id="{BB3834B2-770A-47C6-B928-659AA7E1ABBD}"/>
                </a:ext>
              </a:extLst>
            </p:cNvPr>
            <p:cNvSpPr>
              <a:spLocks/>
            </p:cNvSpPr>
            <p:nvPr/>
          </p:nvSpPr>
          <p:spPr bwMode="auto">
            <a:xfrm>
              <a:off x="4286251" y="2293938"/>
              <a:ext cx="19050"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1366">
              <a:extLst>
                <a:ext uri="{FF2B5EF4-FFF2-40B4-BE49-F238E27FC236}">
                  <a16:creationId xmlns:a16="http://schemas.microsoft.com/office/drawing/2014/main" id="{443C4EC3-BF24-4759-B22D-61AD8C0CF926}"/>
                </a:ext>
              </a:extLst>
            </p:cNvPr>
            <p:cNvSpPr>
              <a:spLocks/>
            </p:cNvSpPr>
            <p:nvPr/>
          </p:nvSpPr>
          <p:spPr bwMode="auto">
            <a:xfrm>
              <a:off x="4344988"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7" name="TextBox 66">
            <a:extLst>
              <a:ext uri="{FF2B5EF4-FFF2-40B4-BE49-F238E27FC236}">
                <a16:creationId xmlns:a16="http://schemas.microsoft.com/office/drawing/2014/main" id="{26B8A455-1444-4805-93F7-84A486258FDC}"/>
              </a:ext>
            </a:extLst>
          </p:cNvPr>
          <p:cNvSpPr txBox="1"/>
          <p:nvPr/>
        </p:nvSpPr>
        <p:spPr>
          <a:xfrm>
            <a:off x="8415716" y="4469540"/>
            <a:ext cx="2545480" cy="523220"/>
          </a:xfrm>
          <a:prstGeom prst="rect">
            <a:avLst/>
          </a:prstGeom>
          <a:noFill/>
        </p:spPr>
        <p:txBody>
          <a:bodyPr wrap="square" rtlCol="0">
            <a:spAutoFit/>
          </a:bodyPr>
          <a:lstStyle/>
          <a:p>
            <a:pPr algn="ctr"/>
            <a:r>
              <a:rPr lang="en-SG" sz="2800" dirty="0">
                <a:solidFill>
                  <a:schemeClr val="tx1">
                    <a:lumMod val="50000"/>
                    <a:lumOff val="50000"/>
                  </a:schemeClr>
                </a:solidFill>
                <a:latin typeface="Quicksand Book" panose="02070303000000060000" pitchFamily="18" charset="0"/>
              </a:rPr>
              <a:t>ELBO</a:t>
            </a:r>
          </a:p>
        </p:txBody>
      </p:sp>
      <p:cxnSp>
        <p:nvCxnSpPr>
          <p:cNvPr id="70" name="Straight Connector 69">
            <a:extLst>
              <a:ext uri="{FF2B5EF4-FFF2-40B4-BE49-F238E27FC236}">
                <a16:creationId xmlns:a16="http://schemas.microsoft.com/office/drawing/2014/main" id="{3DD2D6A9-C16F-4997-8B1B-4BC13F4D697C}"/>
              </a:ext>
            </a:extLst>
          </p:cNvPr>
          <p:cNvCxnSpPr>
            <a:cxnSpLocks/>
          </p:cNvCxnSpPr>
          <p:nvPr/>
        </p:nvCxnSpPr>
        <p:spPr>
          <a:xfrm flipV="1">
            <a:off x="3792816" y="2058573"/>
            <a:ext cx="341034" cy="39185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F92D237-4A70-4846-BB76-41325BCF67F7}"/>
              </a:ext>
            </a:extLst>
          </p:cNvPr>
          <p:cNvCxnSpPr>
            <a:cxnSpLocks/>
          </p:cNvCxnSpPr>
          <p:nvPr/>
        </p:nvCxnSpPr>
        <p:spPr>
          <a:xfrm flipH="1" flipV="1">
            <a:off x="6196789" y="2036060"/>
            <a:ext cx="67483" cy="30151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1F29B289-0A1D-4EA7-BE26-93851F473EA1}"/>
              </a:ext>
            </a:extLst>
          </p:cNvPr>
          <p:cNvSpPr txBox="1"/>
          <p:nvPr/>
        </p:nvSpPr>
        <p:spPr>
          <a:xfrm rot="21406866">
            <a:off x="4678354" y="995363"/>
            <a:ext cx="3317330" cy="923330"/>
          </a:xfrm>
          <a:prstGeom prst="rect">
            <a:avLst/>
          </a:prstGeom>
          <a:noFill/>
          <a:ln w="12700">
            <a:solidFill>
              <a:schemeClr val="bg1"/>
            </a:solidFill>
            <a:prstDash val="lgDash"/>
          </a:ln>
        </p:spPr>
        <p:txBody>
          <a:bodyPr wrap="square" rtlCol="0">
            <a:spAutoFit/>
          </a:bodyPr>
          <a:lstStyle/>
          <a:p>
            <a:pPr algn="just"/>
            <a:r>
              <a:rPr lang="en-SG" dirty="0">
                <a:solidFill>
                  <a:schemeClr val="bg1"/>
                </a:solidFill>
                <a:latin typeface="Quicksand Light" panose="02070303000000060000" pitchFamily="18" charset="0"/>
              </a:rPr>
              <a:t>Auto sorting &amp; dispensing mechanism, equipped with buzzer alert feature</a:t>
            </a:r>
          </a:p>
        </p:txBody>
      </p:sp>
      <p:grpSp>
        <p:nvGrpSpPr>
          <p:cNvPr id="104" name="Silos" descr="{&quot;Key&quot;:&quot;POWER_USER_SHAPE_ICON&quot;,&quot;Value&quot;:&quot;POWER_USER_SHAPE_ICON_STYLE_1&quot;}">
            <a:extLst>
              <a:ext uri="{FF2B5EF4-FFF2-40B4-BE49-F238E27FC236}">
                <a16:creationId xmlns:a16="http://schemas.microsoft.com/office/drawing/2014/main" id="{29A73D8E-CC25-471F-8B4D-1AC177B8FBF3}"/>
              </a:ext>
            </a:extLst>
          </p:cNvPr>
          <p:cNvGrpSpPr>
            <a:grpSpLocks noChangeAspect="1"/>
          </p:cNvGrpSpPr>
          <p:nvPr>
            <p:custDataLst>
              <p:tags r:id="rId4"/>
            </p:custDataLst>
          </p:nvPr>
        </p:nvGrpSpPr>
        <p:grpSpPr>
          <a:xfrm>
            <a:off x="1364096" y="2483784"/>
            <a:ext cx="2680440" cy="1845232"/>
            <a:chOff x="3770313" y="2092325"/>
            <a:chExt cx="657225" cy="452438"/>
          </a:xfrm>
          <a:solidFill>
            <a:schemeClr val="bg1">
              <a:lumMod val="65000"/>
            </a:schemeClr>
          </a:solidFill>
        </p:grpSpPr>
        <p:sp>
          <p:nvSpPr>
            <p:cNvPr id="105" name="Freeform 1352">
              <a:extLst>
                <a:ext uri="{FF2B5EF4-FFF2-40B4-BE49-F238E27FC236}">
                  <a16:creationId xmlns:a16="http://schemas.microsoft.com/office/drawing/2014/main" id="{CF5BC533-C55F-4B7C-9896-B1EF9FE2459F}"/>
                </a:ext>
              </a:extLst>
            </p:cNvPr>
            <p:cNvSpPr>
              <a:spLocks noEditPoints="1"/>
            </p:cNvSpPr>
            <p:nvPr/>
          </p:nvSpPr>
          <p:spPr bwMode="auto">
            <a:xfrm>
              <a:off x="3778251" y="2130425"/>
              <a:ext cx="298450" cy="414338"/>
            </a:xfrm>
            <a:custGeom>
              <a:avLst/>
              <a:gdLst>
                <a:gd name="T0" fmla="*/ 283 w 4233"/>
                <a:gd name="T1" fmla="*/ 5558 h 5841"/>
                <a:gd name="T2" fmla="*/ 3950 w 4233"/>
                <a:gd name="T3" fmla="*/ 5558 h 5841"/>
                <a:gd name="T4" fmla="*/ 3950 w 4233"/>
                <a:gd name="T5" fmla="*/ 1738 h 5841"/>
                <a:gd name="T6" fmla="*/ 3897 w 4233"/>
                <a:gd name="T7" fmla="*/ 1711 h 5841"/>
                <a:gd name="T8" fmla="*/ 2223 w 4233"/>
                <a:gd name="T9" fmla="*/ 331 h 5841"/>
                <a:gd name="T10" fmla="*/ 293 w 4233"/>
                <a:gd name="T11" fmla="*/ 1714 h 5841"/>
                <a:gd name="T12" fmla="*/ 283 w 4233"/>
                <a:gd name="T13" fmla="*/ 1721 h 5841"/>
                <a:gd name="T14" fmla="*/ 283 w 4233"/>
                <a:gd name="T15" fmla="*/ 5558 h 5841"/>
                <a:gd name="T16" fmla="*/ 4091 w 4233"/>
                <a:gd name="T17" fmla="*/ 5841 h 5841"/>
                <a:gd name="T18" fmla="*/ 141 w 4233"/>
                <a:gd name="T19" fmla="*/ 5841 h 5841"/>
                <a:gd name="T20" fmla="*/ 0 w 4233"/>
                <a:gd name="T21" fmla="*/ 5699 h 5841"/>
                <a:gd name="T22" fmla="*/ 0 w 4233"/>
                <a:gd name="T23" fmla="*/ 1599 h 5841"/>
                <a:gd name="T24" fmla="*/ 141 w 4233"/>
                <a:gd name="T25" fmla="*/ 1457 h 5841"/>
                <a:gd name="T26" fmla="*/ 165 w 4233"/>
                <a:gd name="T27" fmla="*/ 1457 h 5841"/>
                <a:gd name="T28" fmla="*/ 2146 w 4233"/>
                <a:gd name="T29" fmla="*/ 38 h 5841"/>
                <a:gd name="T30" fmla="*/ 2319 w 4233"/>
                <a:gd name="T31" fmla="*/ 43 h 5841"/>
                <a:gd name="T32" fmla="*/ 4033 w 4233"/>
                <a:gd name="T33" fmla="*/ 1456 h 5841"/>
                <a:gd name="T34" fmla="*/ 4081 w 4233"/>
                <a:gd name="T35" fmla="*/ 1452 h 5841"/>
                <a:gd name="T36" fmla="*/ 4188 w 4233"/>
                <a:gd name="T37" fmla="*/ 1489 h 5841"/>
                <a:gd name="T38" fmla="*/ 4233 w 4233"/>
                <a:gd name="T39" fmla="*/ 1593 h 5841"/>
                <a:gd name="T40" fmla="*/ 4233 w 4233"/>
                <a:gd name="T41" fmla="*/ 5699 h 5841"/>
                <a:gd name="T42" fmla="*/ 4091 w 4233"/>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3" h="5841">
                  <a:moveTo>
                    <a:pt x="283" y="5558"/>
                  </a:moveTo>
                  <a:lnTo>
                    <a:pt x="3950" y="5558"/>
                  </a:lnTo>
                  <a:lnTo>
                    <a:pt x="3950" y="1738"/>
                  </a:lnTo>
                  <a:cubicBezTo>
                    <a:pt x="3931" y="1732"/>
                    <a:pt x="3913" y="1723"/>
                    <a:pt x="3897" y="1711"/>
                  </a:cubicBezTo>
                  <a:lnTo>
                    <a:pt x="2223" y="331"/>
                  </a:lnTo>
                  <a:lnTo>
                    <a:pt x="293" y="1714"/>
                  </a:lnTo>
                  <a:cubicBezTo>
                    <a:pt x="290" y="1716"/>
                    <a:pt x="286" y="1719"/>
                    <a:pt x="283" y="1721"/>
                  </a:cubicBezTo>
                  <a:lnTo>
                    <a:pt x="283" y="5558"/>
                  </a:lnTo>
                  <a:close/>
                  <a:moveTo>
                    <a:pt x="4091" y="5841"/>
                  </a:moveTo>
                  <a:lnTo>
                    <a:pt x="141" y="5841"/>
                  </a:lnTo>
                  <a:cubicBezTo>
                    <a:pt x="63" y="5841"/>
                    <a:pt x="0" y="5777"/>
                    <a:pt x="0" y="5699"/>
                  </a:cubicBezTo>
                  <a:lnTo>
                    <a:pt x="0" y="1599"/>
                  </a:lnTo>
                  <a:cubicBezTo>
                    <a:pt x="0" y="1521"/>
                    <a:pt x="63" y="1457"/>
                    <a:pt x="141" y="1457"/>
                  </a:cubicBezTo>
                  <a:lnTo>
                    <a:pt x="165" y="1457"/>
                  </a:lnTo>
                  <a:lnTo>
                    <a:pt x="2146" y="38"/>
                  </a:lnTo>
                  <a:cubicBezTo>
                    <a:pt x="2198" y="0"/>
                    <a:pt x="2269" y="2"/>
                    <a:pt x="2319" y="43"/>
                  </a:cubicBezTo>
                  <a:lnTo>
                    <a:pt x="4033" y="1456"/>
                  </a:lnTo>
                  <a:lnTo>
                    <a:pt x="4081" y="1452"/>
                  </a:lnTo>
                  <a:cubicBezTo>
                    <a:pt x="4120" y="1449"/>
                    <a:pt x="4159" y="1463"/>
                    <a:pt x="4188" y="1489"/>
                  </a:cubicBezTo>
                  <a:cubicBezTo>
                    <a:pt x="4217" y="1516"/>
                    <a:pt x="4233" y="1554"/>
                    <a:pt x="4233" y="1593"/>
                  </a:cubicBezTo>
                  <a:lnTo>
                    <a:pt x="4233" y="5699"/>
                  </a:lnTo>
                  <a:cubicBezTo>
                    <a:pt x="4233" y="5777"/>
                    <a:pt x="4170" y="5841"/>
                    <a:pt x="4091"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Freeform 1353">
              <a:extLst>
                <a:ext uri="{FF2B5EF4-FFF2-40B4-BE49-F238E27FC236}">
                  <a16:creationId xmlns:a16="http://schemas.microsoft.com/office/drawing/2014/main" id="{2E488A76-335C-4D1D-8E6E-A85C8C8D861C}"/>
                </a:ext>
              </a:extLst>
            </p:cNvPr>
            <p:cNvSpPr>
              <a:spLocks/>
            </p:cNvSpPr>
            <p:nvPr/>
          </p:nvSpPr>
          <p:spPr bwMode="auto">
            <a:xfrm>
              <a:off x="37703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Freeform 1354">
              <a:extLst>
                <a:ext uri="{FF2B5EF4-FFF2-40B4-BE49-F238E27FC236}">
                  <a16:creationId xmlns:a16="http://schemas.microsoft.com/office/drawing/2014/main" id="{C7B793C0-3655-4F3C-8ADC-220F08029188}"/>
                </a:ext>
              </a:extLst>
            </p:cNvPr>
            <p:cNvSpPr>
              <a:spLocks noEditPoints="1"/>
            </p:cNvSpPr>
            <p:nvPr/>
          </p:nvSpPr>
          <p:spPr bwMode="auto">
            <a:xfrm>
              <a:off x="4121151" y="2130425"/>
              <a:ext cx="300038" cy="414338"/>
            </a:xfrm>
            <a:custGeom>
              <a:avLst/>
              <a:gdLst>
                <a:gd name="T0" fmla="*/ 284 w 4234"/>
                <a:gd name="T1" fmla="*/ 5557 h 5841"/>
                <a:gd name="T2" fmla="*/ 3950 w 4234"/>
                <a:gd name="T3" fmla="*/ 5557 h 5841"/>
                <a:gd name="T4" fmla="*/ 3950 w 4234"/>
                <a:gd name="T5" fmla="*/ 1739 h 5841"/>
                <a:gd name="T6" fmla="*/ 3894 w 4234"/>
                <a:gd name="T7" fmla="*/ 1711 h 5841"/>
                <a:gd name="T8" fmla="*/ 2216 w 4234"/>
                <a:gd name="T9" fmla="*/ 331 h 5841"/>
                <a:gd name="T10" fmla="*/ 286 w 4234"/>
                <a:gd name="T11" fmla="*/ 1715 h 5841"/>
                <a:gd name="T12" fmla="*/ 284 w 4234"/>
                <a:gd name="T13" fmla="*/ 1716 h 5841"/>
                <a:gd name="T14" fmla="*/ 284 w 4234"/>
                <a:gd name="T15" fmla="*/ 5557 h 5841"/>
                <a:gd name="T16" fmla="*/ 4092 w 4234"/>
                <a:gd name="T17" fmla="*/ 5841 h 5841"/>
                <a:gd name="T18" fmla="*/ 142 w 4234"/>
                <a:gd name="T19" fmla="*/ 5841 h 5841"/>
                <a:gd name="T20" fmla="*/ 0 w 4234"/>
                <a:gd name="T21" fmla="*/ 5700 h 5841"/>
                <a:gd name="T22" fmla="*/ 0 w 4234"/>
                <a:gd name="T23" fmla="*/ 1599 h 5841"/>
                <a:gd name="T24" fmla="*/ 142 w 4234"/>
                <a:gd name="T25" fmla="*/ 1458 h 5841"/>
                <a:gd name="T26" fmla="*/ 158 w 4234"/>
                <a:gd name="T27" fmla="*/ 1458 h 5841"/>
                <a:gd name="T28" fmla="*/ 2139 w 4234"/>
                <a:gd name="T29" fmla="*/ 37 h 5841"/>
                <a:gd name="T30" fmla="*/ 2312 w 4234"/>
                <a:gd name="T31" fmla="*/ 43 h 5841"/>
                <a:gd name="T32" fmla="*/ 4030 w 4234"/>
                <a:gd name="T33" fmla="*/ 1456 h 5841"/>
                <a:gd name="T34" fmla="*/ 4082 w 4234"/>
                <a:gd name="T35" fmla="*/ 1452 h 5841"/>
                <a:gd name="T36" fmla="*/ 4189 w 4234"/>
                <a:gd name="T37" fmla="*/ 1490 h 5841"/>
                <a:gd name="T38" fmla="*/ 4234 w 4234"/>
                <a:gd name="T39" fmla="*/ 1594 h 5841"/>
                <a:gd name="T40" fmla="*/ 4234 w 4234"/>
                <a:gd name="T41" fmla="*/ 5700 h 5841"/>
                <a:gd name="T42" fmla="*/ 4092 w 4234"/>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4" h="5841">
                  <a:moveTo>
                    <a:pt x="284" y="5557"/>
                  </a:moveTo>
                  <a:lnTo>
                    <a:pt x="3950" y="5557"/>
                  </a:lnTo>
                  <a:lnTo>
                    <a:pt x="3950" y="1739"/>
                  </a:lnTo>
                  <a:cubicBezTo>
                    <a:pt x="3930" y="1734"/>
                    <a:pt x="3911" y="1724"/>
                    <a:pt x="3894" y="1711"/>
                  </a:cubicBezTo>
                  <a:lnTo>
                    <a:pt x="2216" y="331"/>
                  </a:lnTo>
                  <a:lnTo>
                    <a:pt x="286" y="1715"/>
                  </a:lnTo>
                  <a:cubicBezTo>
                    <a:pt x="285" y="1715"/>
                    <a:pt x="285" y="1715"/>
                    <a:pt x="284" y="1716"/>
                  </a:cubicBezTo>
                  <a:lnTo>
                    <a:pt x="284" y="5557"/>
                  </a:lnTo>
                  <a:close/>
                  <a:moveTo>
                    <a:pt x="4092" y="5841"/>
                  </a:moveTo>
                  <a:lnTo>
                    <a:pt x="142" y="5841"/>
                  </a:lnTo>
                  <a:cubicBezTo>
                    <a:pt x="64" y="5841"/>
                    <a:pt x="0" y="5778"/>
                    <a:pt x="0" y="5700"/>
                  </a:cubicBezTo>
                  <a:lnTo>
                    <a:pt x="0" y="1599"/>
                  </a:lnTo>
                  <a:cubicBezTo>
                    <a:pt x="0" y="1521"/>
                    <a:pt x="64" y="1458"/>
                    <a:pt x="142" y="1458"/>
                  </a:cubicBezTo>
                  <a:lnTo>
                    <a:pt x="158" y="1458"/>
                  </a:lnTo>
                  <a:lnTo>
                    <a:pt x="2139" y="37"/>
                  </a:lnTo>
                  <a:cubicBezTo>
                    <a:pt x="2192" y="0"/>
                    <a:pt x="2262" y="3"/>
                    <a:pt x="2312" y="43"/>
                  </a:cubicBezTo>
                  <a:lnTo>
                    <a:pt x="4030" y="1456"/>
                  </a:lnTo>
                  <a:lnTo>
                    <a:pt x="4082" y="1452"/>
                  </a:lnTo>
                  <a:cubicBezTo>
                    <a:pt x="4121" y="1449"/>
                    <a:pt x="4160" y="1463"/>
                    <a:pt x="4189" y="1490"/>
                  </a:cubicBezTo>
                  <a:cubicBezTo>
                    <a:pt x="4217" y="1517"/>
                    <a:pt x="4234" y="1554"/>
                    <a:pt x="4234" y="1594"/>
                  </a:cubicBezTo>
                  <a:lnTo>
                    <a:pt x="4234" y="5700"/>
                  </a:lnTo>
                  <a:cubicBezTo>
                    <a:pt x="4234" y="5778"/>
                    <a:pt x="4170" y="5841"/>
                    <a:pt x="4092"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Freeform 1355">
              <a:extLst>
                <a:ext uri="{FF2B5EF4-FFF2-40B4-BE49-F238E27FC236}">
                  <a16:creationId xmlns:a16="http://schemas.microsoft.com/office/drawing/2014/main" id="{BFA8292E-3D05-4474-98C9-69B0FADB61E5}"/>
                </a:ext>
              </a:extLst>
            </p:cNvPr>
            <p:cNvSpPr>
              <a:spLocks/>
            </p:cNvSpPr>
            <p:nvPr/>
          </p:nvSpPr>
          <p:spPr bwMode="auto">
            <a:xfrm>
              <a:off x="41132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1356">
              <a:extLst>
                <a:ext uri="{FF2B5EF4-FFF2-40B4-BE49-F238E27FC236}">
                  <a16:creationId xmlns:a16="http://schemas.microsoft.com/office/drawing/2014/main" id="{18EA3043-B9EF-413B-9D75-217DE648A193}"/>
                </a:ext>
              </a:extLst>
            </p:cNvPr>
            <p:cNvSpPr>
              <a:spLocks/>
            </p:cNvSpPr>
            <p:nvPr/>
          </p:nvSpPr>
          <p:spPr bwMode="auto">
            <a:xfrm>
              <a:off x="3924301" y="2093913"/>
              <a:ext cx="20638" cy="57150"/>
            </a:xfrm>
            <a:custGeom>
              <a:avLst/>
              <a:gdLst>
                <a:gd name="T0" fmla="*/ 142 w 283"/>
                <a:gd name="T1" fmla="*/ 800 h 800"/>
                <a:gd name="T2" fmla="*/ 0 w 283"/>
                <a:gd name="T3" fmla="*/ 658 h 800"/>
                <a:gd name="T4" fmla="*/ 0 w 283"/>
                <a:gd name="T5" fmla="*/ 141 h 800"/>
                <a:gd name="T6" fmla="*/ 142 w 283"/>
                <a:gd name="T7" fmla="*/ 0 h 800"/>
                <a:gd name="T8" fmla="*/ 283 w 283"/>
                <a:gd name="T9" fmla="*/ 141 h 800"/>
                <a:gd name="T10" fmla="*/ 283 w 283"/>
                <a:gd name="T11" fmla="*/ 658 h 800"/>
                <a:gd name="T12" fmla="*/ 142 w 283"/>
                <a:gd name="T13" fmla="*/ 800 h 800"/>
              </a:gdLst>
              <a:ahLst/>
              <a:cxnLst>
                <a:cxn ang="0">
                  <a:pos x="T0" y="T1"/>
                </a:cxn>
                <a:cxn ang="0">
                  <a:pos x="T2" y="T3"/>
                </a:cxn>
                <a:cxn ang="0">
                  <a:pos x="T4" y="T5"/>
                </a:cxn>
                <a:cxn ang="0">
                  <a:pos x="T6" y="T7"/>
                </a:cxn>
                <a:cxn ang="0">
                  <a:pos x="T8" y="T9"/>
                </a:cxn>
                <a:cxn ang="0">
                  <a:pos x="T10" y="T11"/>
                </a:cxn>
                <a:cxn ang="0">
                  <a:pos x="T12" y="T13"/>
                </a:cxn>
              </a:cxnLst>
              <a:rect l="0" t="0" r="r" b="b"/>
              <a:pathLst>
                <a:path w="283" h="800">
                  <a:moveTo>
                    <a:pt x="142" y="800"/>
                  </a:moveTo>
                  <a:cubicBezTo>
                    <a:pt x="64" y="800"/>
                    <a:pt x="0" y="736"/>
                    <a:pt x="0" y="658"/>
                  </a:cubicBezTo>
                  <a:lnTo>
                    <a:pt x="0" y="141"/>
                  </a:lnTo>
                  <a:cubicBezTo>
                    <a:pt x="0" y="63"/>
                    <a:pt x="64" y="0"/>
                    <a:pt x="142" y="0"/>
                  </a:cubicBezTo>
                  <a:cubicBezTo>
                    <a:pt x="220" y="0"/>
                    <a:pt x="283" y="63"/>
                    <a:pt x="283" y="141"/>
                  </a:cubicBezTo>
                  <a:lnTo>
                    <a:pt x="283" y="658"/>
                  </a:lnTo>
                  <a:cubicBezTo>
                    <a:pt x="283" y="736"/>
                    <a:pt x="220" y="800"/>
                    <a:pt x="142" y="8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Freeform 1357">
              <a:extLst>
                <a:ext uri="{FF2B5EF4-FFF2-40B4-BE49-F238E27FC236}">
                  <a16:creationId xmlns:a16="http://schemas.microsoft.com/office/drawing/2014/main" id="{BF222618-CBB1-4316-A4E6-3BAEE4F10C9C}"/>
                </a:ext>
              </a:extLst>
            </p:cNvPr>
            <p:cNvSpPr>
              <a:spLocks/>
            </p:cNvSpPr>
            <p:nvPr/>
          </p:nvSpPr>
          <p:spPr bwMode="auto">
            <a:xfrm>
              <a:off x="4267201" y="2098675"/>
              <a:ext cx="20638" cy="52388"/>
            </a:xfrm>
            <a:custGeom>
              <a:avLst/>
              <a:gdLst>
                <a:gd name="T0" fmla="*/ 142 w 283"/>
                <a:gd name="T1" fmla="*/ 734 h 734"/>
                <a:gd name="T2" fmla="*/ 0 w 283"/>
                <a:gd name="T3" fmla="*/ 592 h 734"/>
                <a:gd name="T4" fmla="*/ 0 w 283"/>
                <a:gd name="T5" fmla="*/ 142 h 734"/>
                <a:gd name="T6" fmla="*/ 142 w 283"/>
                <a:gd name="T7" fmla="*/ 0 h 734"/>
                <a:gd name="T8" fmla="*/ 283 w 283"/>
                <a:gd name="T9" fmla="*/ 142 h 734"/>
                <a:gd name="T10" fmla="*/ 283 w 283"/>
                <a:gd name="T11" fmla="*/ 592 h 734"/>
                <a:gd name="T12" fmla="*/ 142 w 283"/>
                <a:gd name="T13" fmla="*/ 734 h 734"/>
              </a:gdLst>
              <a:ahLst/>
              <a:cxnLst>
                <a:cxn ang="0">
                  <a:pos x="T0" y="T1"/>
                </a:cxn>
                <a:cxn ang="0">
                  <a:pos x="T2" y="T3"/>
                </a:cxn>
                <a:cxn ang="0">
                  <a:pos x="T4" y="T5"/>
                </a:cxn>
                <a:cxn ang="0">
                  <a:pos x="T6" y="T7"/>
                </a:cxn>
                <a:cxn ang="0">
                  <a:pos x="T8" y="T9"/>
                </a:cxn>
                <a:cxn ang="0">
                  <a:pos x="T10" y="T11"/>
                </a:cxn>
                <a:cxn ang="0">
                  <a:pos x="T12" y="T13"/>
                </a:cxn>
              </a:cxnLst>
              <a:rect l="0" t="0" r="r" b="b"/>
              <a:pathLst>
                <a:path w="283" h="734">
                  <a:moveTo>
                    <a:pt x="142" y="734"/>
                  </a:moveTo>
                  <a:cubicBezTo>
                    <a:pt x="64" y="734"/>
                    <a:pt x="0" y="670"/>
                    <a:pt x="0" y="592"/>
                  </a:cubicBezTo>
                  <a:lnTo>
                    <a:pt x="0" y="142"/>
                  </a:lnTo>
                  <a:cubicBezTo>
                    <a:pt x="0" y="64"/>
                    <a:pt x="64" y="0"/>
                    <a:pt x="142" y="0"/>
                  </a:cubicBezTo>
                  <a:cubicBezTo>
                    <a:pt x="220" y="0"/>
                    <a:pt x="283" y="64"/>
                    <a:pt x="283" y="142"/>
                  </a:cubicBezTo>
                  <a:lnTo>
                    <a:pt x="283" y="592"/>
                  </a:lnTo>
                  <a:cubicBezTo>
                    <a:pt x="283" y="670"/>
                    <a:pt x="220" y="734"/>
                    <a:pt x="142" y="7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Freeform 1358">
              <a:extLst>
                <a:ext uri="{FF2B5EF4-FFF2-40B4-BE49-F238E27FC236}">
                  <a16:creationId xmlns:a16="http://schemas.microsoft.com/office/drawing/2014/main" id="{EF934EBD-690E-4B31-8E94-AC4342B936ED}"/>
                </a:ext>
              </a:extLst>
            </p:cNvPr>
            <p:cNvSpPr>
              <a:spLocks/>
            </p:cNvSpPr>
            <p:nvPr/>
          </p:nvSpPr>
          <p:spPr bwMode="auto">
            <a:xfrm>
              <a:off x="3924301" y="2092325"/>
              <a:ext cx="363538" cy="20638"/>
            </a:xfrm>
            <a:custGeom>
              <a:avLst/>
              <a:gdLst>
                <a:gd name="T0" fmla="*/ 4991 w 5133"/>
                <a:gd name="T1" fmla="*/ 283 h 283"/>
                <a:gd name="T2" fmla="*/ 141 w 5133"/>
                <a:gd name="T3" fmla="*/ 283 h 283"/>
                <a:gd name="T4" fmla="*/ 0 w 5133"/>
                <a:gd name="T5" fmla="*/ 141 h 283"/>
                <a:gd name="T6" fmla="*/ 141 w 5133"/>
                <a:gd name="T7" fmla="*/ 0 h 283"/>
                <a:gd name="T8" fmla="*/ 4991 w 5133"/>
                <a:gd name="T9" fmla="*/ 0 h 283"/>
                <a:gd name="T10" fmla="*/ 5133 w 5133"/>
                <a:gd name="T11" fmla="*/ 141 h 283"/>
                <a:gd name="T12" fmla="*/ 4991 w 5133"/>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5133" h="283">
                  <a:moveTo>
                    <a:pt x="4991" y="283"/>
                  </a:moveTo>
                  <a:lnTo>
                    <a:pt x="141" y="283"/>
                  </a:lnTo>
                  <a:cubicBezTo>
                    <a:pt x="63" y="283"/>
                    <a:pt x="0" y="220"/>
                    <a:pt x="0" y="141"/>
                  </a:cubicBezTo>
                  <a:cubicBezTo>
                    <a:pt x="0" y="63"/>
                    <a:pt x="63" y="0"/>
                    <a:pt x="141" y="0"/>
                  </a:cubicBezTo>
                  <a:lnTo>
                    <a:pt x="4991" y="0"/>
                  </a:lnTo>
                  <a:cubicBezTo>
                    <a:pt x="5070" y="0"/>
                    <a:pt x="5133" y="63"/>
                    <a:pt x="5133" y="141"/>
                  </a:cubicBezTo>
                  <a:cubicBezTo>
                    <a:pt x="5133" y="220"/>
                    <a:pt x="5070" y="283"/>
                    <a:pt x="4991"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Freeform 1359">
              <a:extLst>
                <a:ext uri="{FF2B5EF4-FFF2-40B4-BE49-F238E27FC236}">
                  <a16:creationId xmlns:a16="http://schemas.microsoft.com/office/drawing/2014/main" id="{76545A03-4FD4-4885-858A-B55F6226A436}"/>
                </a:ext>
              </a:extLst>
            </p:cNvPr>
            <p:cNvSpPr>
              <a:spLocks/>
            </p:cNvSpPr>
            <p:nvPr/>
          </p:nvSpPr>
          <p:spPr bwMode="auto">
            <a:xfrm>
              <a:off x="3829051"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1360">
              <a:extLst>
                <a:ext uri="{FF2B5EF4-FFF2-40B4-BE49-F238E27FC236}">
                  <a16:creationId xmlns:a16="http://schemas.microsoft.com/office/drawing/2014/main" id="{0AF374E6-E810-43A7-AE8F-420605BE780F}"/>
                </a:ext>
              </a:extLst>
            </p:cNvPr>
            <p:cNvSpPr>
              <a:spLocks/>
            </p:cNvSpPr>
            <p:nvPr/>
          </p:nvSpPr>
          <p:spPr bwMode="auto">
            <a:xfrm>
              <a:off x="3884613"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Freeform 1361">
              <a:extLst>
                <a:ext uri="{FF2B5EF4-FFF2-40B4-BE49-F238E27FC236}">
                  <a16:creationId xmlns:a16="http://schemas.microsoft.com/office/drawing/2014/main" id="{0EC18167-77F8-458B-A518-A4EC1DD1DE90}"/>
                </a:ext>
              </a:extLst>
            </p:cNvPr>
            <p:cNvSpPr>
              <a:spLocks/>
            </p:cNvSpPr>
            <p:nvPr/>
          </p:nvSpPr>
          <p:spPr bwMode="auto">
            <a:xfrm>
              <a:off x="3937001"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Freeform 1362">
              <a:extLst>
                <a:ext uri="{FF2B5EF4-FFF2-40B4-BE49-F238E27FC236}">
                  <a16:creationId xmlns:a16="http://schemas.microsoft.com/office/drawing/2014/main" id="{EC012ACF-5A36-4811-80A2-064510B27C74}"/>
                </a:ext>
              </a:extLst>
            </p:cNvPr>
            <p:cNvSpPr>
              <a:spLocks/>
            </p:cNvSpPr>
            <p:nvPr/>
          </p:nvSpPr>
          <p:spPr bwMode="auto">
            <a:xfrm>
              <a:off x="3997326"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Freeform 1363">
              <a:extLst>
                <a:ext uri="{FF2B5EF4-FFF2-40B4-BE49-F238E27FC236}">
                  <a16:creationId xmlns:a16="http://schemas.microsoft.com/office/drawing/2014/main" id="{A4A47780-7460-446E-9437-BEA9ED94488B}"/>
                </a:ext>
              </a:extLst>
            </p:cNvPr>
            <p:cNvSpPr>
              <a:spLocks/>
            </p:cNvSpPr>
            <p:nvPr/>
          </p:nvSpPr>
          <p:spPr bwMode="auto">
            <a:xfrm>
              <a:off x="4178301"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Freeform 1364">
              <a:extLst>
                <a:ext uri="{FF2B5EF4-FFF2-40B4-BE49-F238E27FC236}">
                  <a16:creationId xmlns:a16="http://schemas.microsoft.com/office/drawing/2014/main" id="{74F7B6F7-B687-49B5-A92C-0C10E8F63B47}"/>
                </a:ext>
              </a:extLst>
            </p:cNvPr>
            <p:cNvSpPr>
              <a:spLocks/>
            </p:cNvSpPr>
            <p:nvPr/>
          </p:nvSpPr>
          <p:spPr bwMode="auto">
            <a:xfrm>
              <a:off x="4233863"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Freeform 1365">
              <a:extLst>
                <a:ext uri="{FF2B5EF4-FFF2-40B4-BE49-F238E27FC236}">
                  <a16:creationId xmlns:a16="http://schemas.microsoft.com/office/drawing/2014/main" id="{5C9F693F-7EFD-48BF-8F91-9A7FC7F56A5C}"/>
                </a:ext>
              </a:extLst>
            </p:cNvPr>
            <p:cNvSpPr>
              <a:spLocks/>
            </p:cNvSpPr>
            <p:nvPr/>
          </p:nvSpPr>
          <p:spPr bwMode="auto">
            <a:xfrm>
              <a:off x="4286251" y="2293938"/>
              <a:ext cx="19050"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Freeform 1366">
              <a:extLst>
                <a:ext uri="{FF2B5EF4-FFF2-40B4-BE49-F238E27FC236}">
                  <a16:creationId xmlns:a16="http://schemas.microsoft.com/office/drawing/2014/main" id="{A76998EA-6A3B-448D-912D-0450CF78BFF3}"/>
                </a:ext>
              </a:extLst>
            </p:cNvPr>
            <p:cNvSpPr>
              <a:spLocks/>
            </p:cNvSpPr>
            <p:nvPr/>
          </p:nvSpPr>
          <p:spPr bwMode="auto">
            <a:xfrm>
              <a:off x="4344988"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0" name="Silos" descr="{&quot;Key&quot;:&quot;POWER_USER_SHAPE_ICON&quot;,&quot;Value&quot;:&quot;POWER_USER_SHAPE_ICON_STYLE_1&quot;}">
            <a:extLst>
              <a:ext uri="{FF2B5EF4-FFF2-40B4-BE49-F238E27FC236}">
                <a16:creationId xmlns:a16="http://schemas.microsoft.com/office/drawing/2014/main" id="{53863979-C2E7-4DD3-9CDE-C1B5779DB42B}"/>
              </a:ext>
            </a:extLst>
          </p:cNvPr>
          <p:cNvGrpSpPr>
            <a:grpSpLocks noChangeAspect="1"/>
          </p:cNvGrpSpPr>
          <p:nvPr>
            <p:custDataLst>
              <p:tags r:id="rId5"/>
            </p:custDataLst>
          </p:nvPr>
        </p:nvGrpSpPr>
        <p:grpSpPr>
          <a:xfrm>
            <a:off x="4765924" y="2478018"/>
            <a:ext cx="2680440" cy="1845232"/>
            <a:chOff x="3770313" y="2092325"/>
            <a:chExt cx="657225" cy="452438"/>
          </a:xfrm>
          <a:solidFill>
            <a:schemeClr val="bg1">
              <a:lumMod val="65000"/>
            </a:schemeClr>
          </a:solidFill>
        </p:grpSpPr>
        <p:sp>
          <p:nvSpPr>
            <p:cNvPr id="121" name="Freeform 1352">
              <a:extLst>
                <a:ext uri="{FF2B5EF4-FFF2-40B4-BE49-F238E27FC236}">
                  <a16:creationId xmlns:a16="http://schemas.microsoft.com/office/drawing/2014/main" id="{6FFB703F-F452-40E5-B00D-24B3A35D5CCF}"/>
                </a:ext>
              </a:extLst>
            </p:cNvPr>
            <p:cNvSpPr>
              <a:spLocks noEditPoints="1"/>
            </p:cNvSpPr>
            <p:nvPr/>
          </p:nvSpPr>
          <p:spPr bwMode="auto">
            <a:xfrm>
              <a:off x="3778251" y="2130425"/>
              <a:ext cx="298450" cy="414338"/>
            </a:xfrm>
            <a:custGeom>
              <a:avLst/>
              <a:gdLst>
                <a:gd name="T0" fmla="*/ 283 w 4233"/>
                <a:gd name="T1" fmla="*/ 5558 h 5841"/>
                <a:gd name="T2" fmla="*/ 3950 w 4233"/>
                <a:gd name="T3" fmla="*/ 5558 h 5841"/>
                <a:gd name="T4" fmla="*/ 3950 w 4233"/>
                <a:gd name="T5" fmla="*/ 1738 h 5841"/>
                <a:gd name="T6" fmla="*/ 3897 w 4233"/>
                <a:gd name="T7" fmla="*/ 1711 h 5841"/>
                <a:gd name="T8" fmla="*/ 2223 w 4233"/>
                <a:gd name="T9" fmla="*/ 331 h 5841"/>
                <a:gd name="T10" fmla="*/ 293 w 4233"/>
                <a:gd name="T11" fmla="*/ 1714 h 5841"/>
                <a:gd name="T12" fmla="*/ 283 w 4233"/>
                <a:gd name="T13" fmla="*/ 1721 h 5841"/>
                <a:gd name="T14" fmla="*/ 283 w 4233"/>
                <a:gd name="T15" fmla="*/ 5558 h 5841"/>
                <a:gd name="T16" fmla="*/ 4091 w 4233"/>
                <a:gd name="T17" fmla="*/ 5841 h 5841"/>
                <a:gd name="T18" fmla="*/ 141 w 4233"/>
                <a:gd name="T19" fmla="*/ 5841 h 5841"/>
                <a:gd name="T20" fmla="*/ 0 w 4233"/>
                <a:gd name="T21" fmla="*/ 5699 h 5841"/>
                <a:gd name="T22" fmla="*/ 0 w 4233"/>
                <a:gd name="T23" fmla="*/ 1599 h 5841"/>
                <a:gd name="T24" fmla="*/ 141 w 4233"/>
                <a:gd name="T25" fmla="*/ 1457 h 5841"/>
                <a:gd name="T26" fmla="*/ 165 w 4233"/>
                <a:gd name="T27" fmla="*/ 1457 h 5841"/>
                <a:gd name="T28" fmla="*/ 2146 w 4233"/>
                <a:gd name="T29" fmla="*/ 38 h 5841"/>
                <a:gd name="T30" fmla="*/ 2319 w 4233"/>
                <a:gd name="T31" fmla="*/ 43 h 5841"/>
                <a:gd name="T32" fmla="*/ 4033 w 4233"/>
                <a:gd name="T33" fmla="*/ 1456 h 5841"/>
                <a:gd name="T34" fmla="*/ 4081 w 4233"/>
                <a:gd name="T35" fmla="*/ 1452 h 5841"/>
                <a:gd name="T36" fmla="*/ 4188 w 4233"/>
                <a:gd name="T37" fmla="*/ 1489 h 5841"/>
                <a:gd name="T38" fmla="*/ 4233 w 4233"/>
                <a:gd name="T39" fmla="*/ 1593 h 5841"/>
                <a:gd name="T40" fmla="*/ 4233 w 4233"/>
                <a:gd name="T41" fmla="*/ 5699 h 5841"/>
                <a:gd name="T42" fmla="*/ 4091 w 4233"/>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3" h="5841">
                  <a:moveTo>
                    <a:pt x="283" y="5558"/>
                  </a:moveTo>
                  <a:lnTo>
                    <a:pt x="3950" y="5558"/>
                  </a:lnTo>
                  <a:lnTo>
                    <a:pt x="3950" y="1738"/>
                  </a:lnTo>
                  <a:cubicBezTo>
                    <a:pt x="3931" y="1732"/>
                    <a:pt x="3913" y="1723"/>
                    <a:pt x="3897" y="1711"/>
                  </a:cubicBezTo>
                  <a:lnTo>
                    <a:pt x="2223" y="331"/>
                  </a:lnTo>
                  <a:lnTo>
                    <a:pt x="293" y="1714"/>
                  </a:lnTo>
                  <a:cubicBezTo>
                    <a:pt x="290" y="1716"/>
                    <a:pt x="286" y="1719"/>
                    <a:pt x="283" y="1721"/>
                  </a:cubicBezTo>
                  <a:lnTo>
                    <a:pt x="283" y="5558"/>
                  </a:lnTo>
                  <a:close/>
                  <a:moveTo>
                    <a:pt x="4091" y="5841"/>
                  </a:moveTo>
                  <a:lnTo>
                    <a:pt x="141" y="5841"/>
                  </a:lnTo>
                  <a:cubicBezTo>
                    <a:pt x="63" y="5841"/>
                    <a:pt x="0" y="5777"/>
                    <a:pt x="0" y="5699"/>
                  </a:cubicBezTo>
                  <a:lnTo>
                    <a:pt x="0" y="1599"/>
                  </a:lnTo>
                  <a:cubicBezTo>
                    <a:pt x="0" y="1521"/>
                    <a:pt x="63" y="1457"/>
                    <a:pt x="141" y="1457"/>
                  </a:cubicBezTo>
                  <a:lnTo>
                    <a:pt x="165" y="1457"/>
                  </a:lnTo>
                  <a:lnTo>
                    <a:pt x="2146" y="38"/>
                  </a:lnTo>
                  <a:cubicBezTo>
                    <a:pt x="2198" y="0"/>
                    <a:pt x="2269" y="2"/>
                    <a:pt x="2319" y="43"/>
                  </a:cubicBezTo>
                  <a:lnTo>
                    <a:pt x="4033" y="1456"/>
                  </a:lnTo>
                  <a:lnTo>
                    <a:pt x="4081" y="1452"/>
                  </a:lnTo>
                  <a:cubicBezTo>
                    <a:pt x="4120" y="1449"/>
                    <a:pt x="4159" y="1463"/>
                    <a:pt x="4188" y="1489"/>
                  </a:cubicBezTo>
                  <a:cubicBezTo>
                    <a:pt x="4217" y="1516"/>
                    <a:pt x="4233" y="1554"/>
                    <a:pt x="4233" y="1593"/>
                  </a:cubicBezTo>
                  <a:lnTo>
                    <a:pt x="4233" y="5699"/>
                  </a:lnTo>
                  <a:cubicBezTo>
                    <a:pt x="4233" y="5777"/>
                    <a:pt x="4170" y="5841"/>
                    <a:pt x="4091"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1353">
              <a:extLst>
                <a:ext uri="{FF2B5EF4-FFF2-40B4-BE49-F238E27FC236}">
                  <a16:creationId xmlns:a16="http://schemas.microsoft.com/office/drawing/2014/main" id="{1B455134-8AAA-4589-9401-886356B27662}"/>
                </a:ext>
              </a:extLst>
            </p:cNvPr>
            <p:cNvSpPr>
              <a:spLocks/>
            </p:cNvSpPr>
            <p:nvPr/>
          </p:nvSpPr>
          <p:spPr bwMode="auto">
            <a:xfrm>
              <a:off x="37703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1354">
              <a:extLst>
                <a:ext uri="{FF2B5EF4-FFF2-40B4-BE49-F238E27FC236}">
                  <a16:creationId xmlns:a16="http://schemas.microsoft.com/office/drawing/2014/main" id="{B8984F32-5826-4BA4-A41C-9A1AA35082F6}"/>
                </a:ext>
              </a:extLst>
            </p:cNvPr>
            <p:cNvSpPr>
              <a:spLocks noEditPoints="1"/>
            </p:cNvSpPr>
            <p:nvPr/>
          </p:nvSpPr>
          <p:spPr bwMode="auto">
            <a:xfrm>
              <a:off x="4121151" y="2130425"/>
              <a:ext cx="300038" cy="414338"/>
            </a:xfrm>
            <a:custGeom>
              <a:avLst/>
              <a:gdLst>
                <a:gd name="T0" fmla="*/ 284 w 4234"/>
                <a:gd name="T1" fmla="*/ 5557 h 5841"/>
                <a:gd name="T2" fmla="*/ 3950 w 4234"/>
                <a:gd name="T3" fmla="*/ 5557 h 5841"/>
                <a:gd name="T4" fmla="*/ 3950 w 4234"/>
                <a:gd name="T5" fmla="*/ 1739 h 5841"/>
                <a:gd name="T6" fmla="*/ 3894 w 4234"/>
                <a:gd name="T7" fmla="*/ 1711 h 5841"/>
                <a:gd name="T8" fmla="*/ 2216 w 4234"/>
                <a:gd name="T9" fmla="*/ 331 h 5841"/>
                <a:gd name="T10" fmla="*/ 286 w 4234"/>
                <a:gd name="T11" fmla="*/ 1715 h 5841"/>
                <a:gd name="T12" fmla="*/ 284 w 4234"/>
                <a:gd name="T13" fmla="*/ 1716 h 5841"/>
                <a:gd name="T14" fmla="*/ 284 w 4234"/>
                <a:gd name="T15" fmla="*/ 5557 h 5841"/>
                <a:gd name="T16" fmla="*/ 4092 w 4234"/>
                <a:gd name="T17" fmla="*/ 5841 h 5841"/>
                <a:gd name="T18" fmla="*/ 142 w 4234"/>
                <a:gd name="T19" fmla="*/ 5841 h 5841"/>
                <a:gd name="T20" fmla="*/ 0 w 4234"/>
                <a:gd name="T21" fmla="*/ 5700 h 5841"/>
                <a:gd name="T22" fmla="*/ 0 w 4234"/>
                <a:gd name="T23" fmla="*/ 1599 h 5841"/>
                <a:gd name="T24" fmla="*/ 142 w 4234"/>
                <a:gd name="T25" fmla="*/ 1458 h 5841"/>
                <a:gd name="T26" fmla="*/ 158 w 4234"/>
                <a:gd name="T27" fmla="*/ 1458 h 5841"/>
                <a:gd name="T28" fmla="*/ 2139 w 4234"/>
                <a:gd name="T29" fmla="*/ 37 h 5841"/>
                <a:gd name="T30" fmla="*/ 2312 w 4234"/>
                <a:gd name="T31" fmla="*/ 43 h 5841"/>
                <a:gd name="T32" fmla="*/ 4030 w 4234"/>
                <a:gd name="T33" fmla="*/ 1456 h 5841"/>
                <a:gd name="T34" fmla="*/ 4082 w 4234"/>
                <a:gd name="T35" fmla="*/ 1452 h 5841"/>
                <a:gd name="T36" fmla="*/ 4189 w 4234"/>
                <a:gd name="T37" fmla="*/ 1490 h 5841"/>
                <a:gd name="T38" fmla="*/ 4234 w 4234"/>
                <a:gd name="T39" fmla="*/ 1594 h 5841"/>
                <a:gd name="T40" fmla="*/ 4234 w 4234"/>
                <a:gd name="T41" fmla="*/ 5700 h 5841"/>
                <a:gd name="T42" fmla="*/ 4092 w 4234"/>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4" h="5841">
                  <a:moveTo>
                    <a:pt x="284" y="5557"/>
                  </a:moveTo>
                  <a:lnTo>
                    <a:pt x="3950" y="5557"/>
                  </a:lnTo>
                  <a:lnTo>
                    <a:pt x="3950" y="1739"/>
                  </a:lnTo>
                  <a:cubicBezTo>
                    <a:pt x="3930" y="1734"/>
                    <a:pt x="3911" y="1724"/>
                    <a:pt x="3894" y="1711"/>
                  </a:cubicBezTo>
                  <a:lnTo>
                    <a:pt x="2216" y="331"/>
                  </a:lnTo>
                  <a:lnTo>
                    <a:pt x="286" y="1715"/>
                  </a:lnTo>
                  <a:cubicBezTo>
                    <a:pt x="285" y="1715"/>
                    <a:pt x="285" y="1715"/>
                    <a:pt x="284" y="1716"/>
                  </a:cubicBezTo>
                  <a:lnTo>
                    <a:pt x="284" y="5557"/>
                  </a:lnTo>
                  <a:close/>
                  <a:moveTo>
                    <a:pt x="4092" y="5841"/>
                  </a:moveTo>
                  <a:lnTo>
                    <a:pt x="142" y="5841"/>
                  </a:lnTo>
                  <a:cubicBezTo>
                    <a:pt x="64" y="5841"/>
                    <a:pt x="0" y="5778"/>
                    <a:pt x="0" y="5700"/>
                  </a:cubicBezTo>
                  <a:lnTo>
                    <a:pt x="0" y="1599"/>
                  </a:lnTo>
                  <a:cubicBezTo>
                    <a:pt x="0" y="1521"/>
                    <a:pt x="64" y="1458"/>
                    <a:pt x="142" y="1458"/>
                  </a:cubicBezTo>
                  <a:lnTo>
                    <a:pt x="158" y="1458"/>
                  </a:lnTo>
                  <a:lnTo>
                    <a:pt x="2139" y="37"/>
                  </a:lnTo>
                  <a:cubicBezTo>
                    <a:pt x="2192" y="0"/>
                    <a:pt x="2262" y="3"/>
                    <a:pt x="2312" y="43"/>
                  </a:cubicBezTo>
                  <a:lnTo>
                    <a:pt x="4030" y="1456"/>
                  </a:lnTo>
                  <a:lnTo>
                    <a:pt x="4082" y="1452"/>
                  </a:lnTo>
                  <a:cubicBezTo>
                    <a:pt x="4121" y="1449"/>
                    <a:pt x="4160" y="1463"/>
                    <a:pt x="4189" y="1490"/>
                  </a:cubicBezTo>
                  <a:cubicBezTo>
                    <a:pt x="4217" y="1517"/>
                    <a:pt x="4234" y="1554"/>
                    <a:pt x="4234" y="1594"/>
                  </a:cubicBezTo>
                  <a:lnTo>
                    <a:pt x="4234" y="5700"/>
                  </a:lnTo>
                  <a:cubicBezTo>
                    <a:pt x="4234" y="5778"/>
                    <a:pt x="4170" y="5841"/>
                    <a:pt x="4092"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Freeform 1355">
              <a:extLst>
                <a:ext uri="{FF2B5EF4-FFF2-40B4-BE49-F238E27FC236}">
                  <a16:creationId xmlns:a16="http://schemas.microsoft.com/office/drawing/2014/main" id="{0B423AE6-01E7-4FBE-9F99-5ECFDBB749C8}"/>
                </a:ext>
              </a:extLst>
            </p:cNvPr>
            <p:cNvSpPr>
              <a:spLocks/>
            </p:cNvSpPr>
            <p:nvPr/>
          </p:nvSpPr>
          <p:spPr bwMode="auto">
            <a:xfrm>
              <a:off x="41132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1356">
              <a:extLst>
                <a:ext uri="{FF2B5EF4-FFF2-40B4-BE49-F238E27FC236}">
                  <a16:creationId xmlns:a16="http://schemas.microsoft.com/office/drawing/2014/main" id="{D6F89056-8E40-4D0D-9E55-949C0781748A}"/>
                </a:ext>
              </a:extLst>
            </p:cNvPr>
            <p:cNvSpPr>
              <a:spLocks/>
            </p:cNvSpPr>
            <p:nvPr/>
          </p:nvSpPr>
          <p:spPr bwMode="auto">
            <a:xfrm>
              <a:off x="3924301" y="2093913"/>
              <a:ext cx="20638" cy="57150"/>
            </a:xfrm>
            <a:custGeom>
              <a:avLst/>
              <a:gdLst>
                <a:gd name="T0" fmla="*/ 142 w 283"/>
                <a:gd name="T1" fmla="*/ 800 h 800"/>
                <a:gd name="T2" fmla="*/ 0 w 283"/>
                <a:gd name="T3" fmla="*/ 658 h 800"/>
                <a:gd name="T4" fmla="*/ 0 w 283"/>
                <a:gd name="T5" fmla="*/ 141 h 800"/>
                <a:gd name="T6" fmla="*/ 142 w 283"/>
                <a:gd name="T7" fmla="*/ 0 h 800"/>
                <a:gd name="T8" fmla="*/ 283 w 283"/>
                <a:gd name="T9" fmla="*/ 141 h 800"/>
                <a:gd name="T10" fmla="*/ 283 w 283"/>
                <a:gd name="T11" fmla="*/ 658 h 800"/>
                <a:gd name="T12" fmla="*/ 142 w 283"/>
                <a:gd name="T13" fmla="*/ 800 h 800"/>
              </a:gdLst>
              <a:ahLst/>
              <a:cxnLst>
                <a:cxn ang="0">
                  <a:pos x="T0" y="T1"/>
                </a:cxn>
                <a:cxn ang="0">
                  <a:pos x="T2" y="T3"/>
                </a:cxn>
                <a:cxn ang="0">
                  <a:pos x="T4" y="T5"/>
                </a:cxn>
                <a:cxn ang="0">
                  <a:pos x="T6" y="T7"/>
                </a:cxn>
                <a:cxn ang="0">
                  <a:pos x="T8" y="T9"/>
                </a:cxn>
                <a:cxn ang="0">
                  <a:pos x="T10" y="T11"/>
                </a:cxn>
                <a:cxn ang="0">
                  <a:pos x="T12" y="T13"/>
                </a:cxn>
              </a:cxnLst>
              <a:rect l="0" t="0" r="r" b="b"/>
              <a:pathLst>
                <a:path w="283" h="800">
                  <a:moveTo>
                    <a:pt x="142" y="800"/>
                  </a:moveTo>
                  <a:cubicBezTo>
                    <a:pt x="64" y="800"/>
                    <a:pt x="0" y="736"/>
                    <a:pt x="0" y="658"/>
                  </a:cubicBezTo>
                  <a:lnTo>
                    <a:pt x="0" y="141"/>
                  </a:lnTo>
                  <a:cubicBezTo>
                    <a:pt x="0" y="63"/>
                    <a:pt x="64" y="0"/>
                    <a:pt x="142" y="0"/>
                  </a:cubicBezTo>
                  <a:cubicBezTo>
                    <a:pt x="220" y="0"/>
                    <a:pt x="283" y="63"/>
                    <a:pt x="283" y="141"/>
                  </a:cubicBezTo>
                  <a:lnTo>
                    <a:pt x="283" y="658"/>
                  </a:lnTo>
                  <a:cubicBezTo>
                    <a:pt x="283" y="736"/>
                    <a:pt x="220" y="800"/>
                    <a:pt x="142" y="8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1357">
              <a:extLst>
                <a:ext uri="{FF2B5EF4-FFF2-40B4-BE49-F238E27FC236}">
                  <a16:creationId xmlns:a16="http://schemas.microsoft.com/office/drawing/2014/main" id="{E3577E09-9BC8-4E9D-B3C2-949CE779B401}"/>
                </a:ext>
              </a:extLst>
            </p:cNvPr>
            <p:cNvSpPr>
              <a:spLocks/>
            </p:cNvSpPr>
            <p:nvPr/>
          </p:nvSpPr>
          <p:spPr bwMode="auto">
            <a:xfrm>
              <a:off x="4267201" y="2098675"/>
              <a:ext cx="20638" cy="52388"/>
            </a:xfrm>
            <a:custGeom>
              <a:avLst/>
              <a:gdLst>
                <a:gd name="T0" fmla="*/ 142 w 283"/>
                <a:gd name="T1" fmla="*/ 734 h 734"/>
                <a:gd name="T2" fmla="*/ 0 w 283"/>
                <a:gd name="T3" fmla="*/ 592 h 734"/>
                <a:gd name="T4" fmla="*/ 0 w 283"/>
                <a:gd name="T5" fmla="*/ 142 h 734"/>
                <a:gd name="T6" fmla="*/ 142 w 283"/>
                <a:gd name="T7" fmla="*/ 0 h 734"/>
                <a:gd name="T8" fmla="*/ 283 w 283"/>
                <a:gd name="T9" fmla="*/ 142 h 734"/>
                <a:gd name="T10" fmla="*/ 283 w 283"/>
                <a:gd name="T11" fmla="*/ 592 h 734"/>
                <a:gd name="T12" fmla="*/ 142 w 283"/>
                <a:gd name="T13" fmla="*/ 734 h 734"/>
              </a:gdLst>
              <a:ahLst/>
              <a:cxnLst>
                <a:cxn ang="0">
                  <a:pos x="T0" y="T1"/>
                </a:cxn>
                <a:cxn ang="0">
                  <a:pos x="T2" y="T3"/>
                </a:cxn>
                <a:cxn ang="0">
                  <a:pos x="T4" y="T5"/>
                </a:cxn>
                <a:cxn ang="0">
                  <a:pos x="T6" y="T7"/>
                </a:cxn>
                <a:cxn ang="0">
                  <a:pos x="T8" y="T9"/>
                </a:cxn>
                <a:cxn ang="0">
                  <a:pos x="T10" y="T11"/>
                </a:cxn>
                <a:cxn ang="0">
                  <a:pos x="T12" y="T13"/>
                </a:cxn>
              </a:cxnLst>
              <a:rect l="0" t="0" r="r" b="b"/>
              <a:pathLst>
                <a:path w="283" h="734">
                  <a:moveTo>
                    <a:pt x="142" y="734"/>
                  </a:moveTo>
                  <a:cubicBezTo>
                    <a:pt x="64" y="734"/>
                    <a:pt x="0" y="670"/>
                    <a:pt x="0" y="592"/>
                  </a:cubicBezTo>
                  <a:lnTo>
                    <a:pt x="0" y="142"/>
                  </a:lnTo>
                  <a:cubicBezTo>
                    <a:pt x="0" y="64"/>
                    <a:pt x="64" y="0"/>
                    <a:pt x="142" y="0"/>
                  </a:cubicBezTo>
                  <a:cubicBezTo>
                    <a:pt x="220" y="0"/>
                    <a:pt x="283" y="64"/>
                    <a:pt x="283" y="142"/>
                  </a:cubicBezTo>
                  <a:lnTo>
                    <a:pt x="283" y="592"/>
                  </a:lnTo>
                  <a:cubicBezTo>
                    <a:pt x="283" y="670"/>
                    <a:pt x="220" y="734"/>
                    <a:pt x="142" y="7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1358">
              <a:extLst>
                <a:ext uri="{FF2B5EF4-FFF2-40B4-BE49-F238E27FC236}">
                  <a16:creationId xmlns:a16="http://schemas.microsoft.com/office/drawing/2014/main" id="{1488C1FE-C19C-4764-90B6-D125C7944949}"/>
                </a:ext>
              </a:extLst>
            </p:cNvPr>
            <p:cNvSpPr>
              <a:spLocks/>
            </p:cNvSpPr>
            <p:nvPr/>
          </p:nvSpPr>
          <p:spPr bwMode="auto">
            <a:xfrm>
              <a:off x="3924301" y="2092325"/>
              <a:ext cx="363538" cy="20638"/>
            </a:xfrm>
            <a:custGeom>
              <a:avLst/>
              <a:gdLst>
                <a:gd name="T0" fmla="*/ 4991 w 5133"/>
                <a:gd name="T1" fmla="*/ 283 h 283"/>
                <a:gd name="T2" fmla="*/ 141 w 5133"/>
                <a:gd name="T3" fmla="*/ 283 h 283"/>
                <a:gd name="T4" fmla="*/ 0 w 5133"/>
                <a:gd name="T5" fmla="*/ 141 h 283"/>
                <a:gd name="T6" fmla="*/ 141 w 5133"/>
                <a:gd name="T7" fmla="*/ 0 h 283"/>
                <a:gd name="T8" fmla="*/ 4991 w 5133"/>
                <a:gd name="T9" fmla="*/ 0 h 283"/>
                <a:gd name="T10" fmla="*/ 5133 w 5133"/>
                <a:gd name="T11" fmla="*/ 141 h 283"/>
                <a:gd name="T12" fmla="*/ 4991 w 5133"/>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5133" h="283">
                  <a:moveTo>
                    <a:pt x="4991" y="283"/>
                  </a:moveTo>
                  <a:lnTo>
                    <a:pt x="141" y="283"/>
                  </a:lnTo>
                  <a:cubicBezTo>
                    <a:pt x="63" y="283"/>
                    <a:pt x="0" y="220"/>
                    <a:pt x="0" y="141"/>
                  </a:cubicBezTo>
                  <a:cubicBezTo>
                    <a:pt x="0" y="63"/>
                    <a:pt x="63" y="0"/>
                    <a:pt x="141" y="0"/>
                  </a:cubicBezTo>
                  <a:lnTo>
                    <a:pt x="4991" y="0"/>
                  </a:lnTo>
                  <a:cubicBezTo>
                    <a:pt x="5070" y="0"/>
                    <a:pt x="5133" y="63"/>
                    <a:pt x="5133" y="141"/>
                  </a:cubicBezTo>
                  <a:cubicBezTo>
                    <a:pt x="5133" y="220"/>
                    <a:pt x="5070" y="283"/>
                    <a:pt x="4991"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1359">
              <a:extLst>
                <a:ext uri="{FF2B5EF4-FFF2-40B4-BE49-F238E27FC236}">
                  <a16:creationId xmlns:a16="http://schemas.microsoft.com/office/drawing/2014/main" id="{F653BE66-77F9-444F-A13A-94A5868808FE}"/>
                </a:ext>
              </a:extLst>
            </p:cNvPr>
            <p:cNvSpPr>
              <a:spLocks/>
            </p:cNvSpPr>
            <p:nvPr/>
          </p:nvSpPr>
          <p:spPr bwMode="auto">
            <a:xfrm>
              <a:off x="3829051"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1360">
              <a:extLst>
                <a:ext uri="{FF2B5EF4-FFF2-40B4-BE49-F238E27FC236}">
                  <a16:creationId xmlns:a16="http://schemas.microsoft.com/office/drawing/2014/main" id="{F8AFA2BC-875C-4273-B4FA-A1A163B5BAA0}"/>
                </a:ext>
              </a:extLst>
            </p:cNvPr>
            <p:cNvSpPr>
              <a:spLocks/>
            </p:cNvSpPr>
            <p:nvPr/>
          </p:nvSpPr>
          <p:spPr bwMode="auto">
            <a:xfrm>
              <a:off x="3884613"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1361">
              <a:extLst>
                <a:ext uri="{FF2B5EF4-FFF2-40B4-BE49-F238E27FC236}">
                  <a16:creationId xmlns:a16="http://schemas.microsoft.com/office/drawing/2014/main" id="{B2B09C32-A862-4930-8829-039E92467CE3}"/>
                </a:ext>
              </a:extLst>
            </p:cNvPr>
            <p:cNvSpPr>
              <a:spLocks/>
            </p:cNvSpPr>
            <p:nvPr/>
          </p:nvSpPr>
          <p:spPr bwMode="auto">
            <a:xfrm>
              <a:off x="3937001"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Freeform 1362">
              <a:extLst>
                <a:ext uri="{FF2B5EF4-FFF2-40B4-BE49-F238E27FC236}">
                  <a16:creationId xmlns:a16="http://schemas.microsoft.com/office/drawing/2014/main" id="{739561E7-7E43-477A-BEC8-181CA68E6404}"/>
                </a:ext>
              </a:extLst>
            </p:cNvPr>
            <p:cNvSpPr>
              <a:spLocks/>
            </p:cNvSpPr>
            <p:nvPr/>
          </p:nvSpPr>
          <p:spPr bwMode="auto">
            <a:xfrm>
              <a:off x="3997326"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1363">
              <a:extLst>
                <a:ext uri="{FF2B5EF4-FFF2-40B4-BE49-F238E27FC236}">
                  <a16:creationId xmlns:a16="http://schemas.microsoft.com/office/drawing/2014/main" id="{3146EF7B-5D8B-459A-B5DD-843DD7A7DAB0}"/>
                </a:ext>
              </a:extLst>
            </p:cNvPr>
            <p:cNvSpPr>
              <a:spLocks/>
            </p:cNvSpPr>
            <p:nvPr/>
          </p:nvSpPr>
          <p:spPr bwMode="auto">
            <a:xfrm>
              <a:off x="4178301"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1364">
              <a:extLst>
                <a:ext uri="{FF2B5EF4-FFF2-40B4-BE49-F238E27FC236}">
                  <a16:creationId xmlns:a16="http://schemas.microsoft.com/office/drawing/2014/main" id="{E13115FB-F31A-4471-A3C8-8E412294D30C}"/>
                </a:ext>
              </a:extLst>
            </p:cNvPr>
            <p:cNvSpPr>
              <a:spLocks/>
            </p:cNvSpPr>
            <p:nvPr/>
          </p:nvSpPr>
          <p:spPr bwMode="auto">
            <a:xfrm>
              <a:off x="4233863"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1365">
              <a:extLst>
                <a:ext uri="{FF2B5EF4-FFF2-40B4-BE49-F238E27FC236}">
                  <a16:creationId xmlns:a16="http://schemas.microsoft.com/office/drawing/2014/main" id="{ABBB22E4-288C-4F26-AC81-0366FAD8EB56}"/>
                </a:ext>
              </a:extLst>
            </p:cNvPr>
            <p:cNvSpPr>
              <a:spLocks/>
            </p:cNvSpPr>
            <p:nvPr/>
          </p:nvSpPr>
          <p:spPr bwMode="auto">
            <a:xfrm>
              <a:off x="4286251" y="2293938"/>
              <a:ext cx="19050"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1366">
              <a:extLst>
                <a:ext uri="{FF2B5EF4-FFF2-40B4-BE49-F238E27FC236}">
                  <a16:creationId xmlns:a16="http://schemas.microsoft.com/office/drawing/2014/main" id="{922D0C92-FA43-4337-9DAD-5B6E6D543CBE}"/>
                </a:ext>
              </a:extLst>
            </p:cNvPr>
            <p:cNvSpPr>
              <a:spLocks/>
            </p:cNvSpPr>
            <p:nvPr/>
          </p:nvSpPr>
          <p:spPr bwMode="auto">
            <a:xfrm>
              <a:off x="4344988"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2" name="TextBox 91">
            <a:extLst>
              <a:ext uri="{FF2B5EF4-FFF2-40B4-BE49-F238E27FC236}">
                <a16:creationId xmlns:a16="http://schemas.microsoft.com/office/drawing/2014/main" id="{A16295F9-246D-441C-9140-890C9AC53B26}"/>
              </a:ext>
            </a:extLst>
          </p:cNvPr>
          <p:cNvSpPr txBox="1"/>
          <p:nvPr/>
        </p:nvSpPr>
        <p:spPr>
          <a:xfrm rot="21193202">
            <a:off x="3151772" y="951886"/>
            <a:ext cx="2540455" cy="923330"/>
          </a:xfrm>
          <a:prstGeom prst="rect">
            <a:avLst/>
          </a:prstGeom>
          <a:noFill/>
          <a:ln w="12700">
            <a:solidFill>
              <a:schemeClr val="bg1"/>
            </a:solidFill>
            <a:prstDash val="lgDash"/>
          </a:ln>
        </p:spPr>
        <p:txBody>
          <a:bodyPr wrap="square" rtlCol="0">
            <a:spAutoFit/>
          </a:bodyPr>
          <a:lstStyle/>
          <a:p>
            <a:pPr algn="just"/>
            <a:r>
              <a:rPr lang="en-SG" dirty="0">
                <a:solidFill>
                  <a:schemeClr val="bg1"/>
                </a:solidFill>
                <a:latin typeface="Quicksand Light" panose="02070303000000060000" pitchFamily="18" charset="0"/>
              </a:rPr>
              <a:t>Cuts and dispenses each  medicine into a compartment</a:t>
            </a:r>
          </a:p>
        </p:txBody>
      </p:sp>
    </p:spTree>
    <p:extLst>
      <p:ext uri="{BB962C8B-B14F-4D97-AF65-F5344CB8AC3E}">
        <p14:creationId xmlns:p14="http://schemas.microsoft.com/office/powerpoint/2010/main" val="1704956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70"/>
                                        </p:tgtEl>
                                      </p:cBhvr>
                                    </p:animEffect>
                                    <p:set>
                                      <p:cBhvr>
                                        <p:cTn id="7" dur="1" fill="hold">
                                          <p:stCondLst>
                                            <p:cond delay="499"/>
                                          </p:stCondLst>
                                        </p:cTn>
                                        <p:tgtEl>
                                          <p:spTgt spid="70"/>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04"/>
                                        </p:tgtEl>
                                      </p:cBhvr>
                                    </p:animEffect>
                                    <p:set>
                                      <p:cBhvr>
                                        <p:cTn id="10" dur="1" fill="hold">
                                          <p:stCondLst>
                                            <p:cond delay="499"/>
                                          </p:stCondLst>
                                        </p:cTn>
                                        <p:tgtEl>
                                          <p:spTgt spid="104"/>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92"/>
                                        </p:tgtEl>
                                      </p:cBhvr>
                                    </p:animEffect>
                                    <p:set>
                                      <p:cBhvr>
                                        <p:cTn id="13" dur="1" fill="hold">
                                          <p:stCondLst>
                                            <p:cond delay="499"/>
                                          </p:stCondLst>
                                        </p:cTn>
                                        <p:tgtEl>
                                          <p:spTgt spid="92"/>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8"/>
                                        </p:tgtEl>
                                        <p:attrNameLst>
                                          <p:attrName>style.visibility</p:attrName>
                                        </p:attrNameLst>
                                      </p:cBhvr>
                                      <p:to>
                                        <p:strVal val="visible"/>
                                      </p:to>
                                    </p:set>
                                    <p:animEffect transition="in" filter="fade">
                                      <p:cBhvr>
                                        <p:cTn id="17" dur="500"/>
                                        <p:tgtEl>
                                          <p:spTgt spid="68"/>
                                        </p:tgtEl>
                                      </p:cBhvr>
                                    </p:animEffect>
                                  </p:childTnLst>
                                </p:cTn>
                              </p:par>
                              <p:par>
                                <p:cTn id="18" presetID="10" presetClass="entr" presetSubtype="0" fill="hold" nodeType="withEffect">
                                  <p:stCondLst>
                                    <p:cond delay="0"/>
                                  </p:stCondLst>
                                  <p:childTnLst>
                                    <p:set>
                                      <p:cBhvr>
                                        <p:cTn id="19" dur="1" fill="hold">
                                          <p:stCondLst>
                                            <p:cond delay="0"/>
                                          </p:stCondLst>
                                        </p:cTn>
                                        <p:tgtEl>
                                          <p:spTgt spid="66"/>
                                        </p:tgtEl>
                                        <p:attrNameLst>
                                          <p:attrName>style.visibility</p:attrName>
                                        </p:attrNameLst>
                                      </p:cBhvr>
                                      <p:to>
                                        <p:strVal val="visible"/>
                                      </p:to>
                                    </p:set>
                                    <p:animEffect transition="in" filter="fade">
                                      <p:cBhvr>
                                        <p:cTn id="20" dur="500"/>
                                        <p:tgtEl>
                                          <p:spTgt spid="66"/>
                                        </p:tgtEl>
                                      </p:cBhvr>
                                    </p:animEffect>
                                  </p:childTnLst>
                                </p:cTn>
                              </p:par>
                              <p:par>
                                <p:cTn id="21" presetID="10" presetClass="entr" presetSubtype="0" fill="hold" nodeType="withEffect">
                                  <p:stCondLst>
                                    <p:cond delay="0"/>
                                  </p:stCondLst>
                                  <p:childTnLst>
                                    <p:set>
                                      <p:cBhvr>
                                        <p:cTn id="22" dur="1" fill="hold">
                                          <p:stCondLst>
                                            <p:cond delay="0"/>
                                          </p:stCondLst>
                                        </p:cTn>
                                        <p:tgtEl>
                                          <p:spTgt spid="120"/>
                                        </p:tgtEl>
                                        <p:attrNameLst>
                                          <p:attrName>style.visibility</p:attrName>
                                        </p:attrNameLst>
                                      </p:cBhvr>
                                      <p:to>
                                        <p:strVal val="visible"/>
                                      </p:to>
                                    </p:set>
                                    <p:animEffect transition="in" filter="fade">
                                      <p:cBhvr>
                                        <p:cTn id="23"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9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sp>
        <p:nvSpPr>
          <p:cNvPr id="21" name="Title 1">
            <a:extLst>
              <a:ext uri="{FF2B5EF4-FFF2-40B4-BE49-F238E27FC236}">
                <a16:creationId xmlns:a16="http://schemas.microsoft.com/office/drawing/2014/main" id="{41C4D9DA-1CB1-444F-9329-3D5CA74663CA}"/>
              </a:ext>
            </a:extLst>
          </p:cNvPr>
          <p:cNvSpPr txBox="1">
            <a:spLocks/>
          </p:cNvSpPr>
          <p:nvPr/>
        </p:nvSpPr>
        <p:spPr>
          <a:xfrm>
            <a:off x="2033306" y="5265165"/>
            <a:ext cx="9144000" cy="138840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SG" sz="9600" dirty="0">
                <a:solidFill>
                  <a:schemeClr val="tx1">
                    <a:lumMod val="50000"/>
                    <a:lumOff val="50000"/>
                  </a:schemeClr>
                </a:solidFill>
                <a:latin typeface="Bebas Neue" panose="020B0606020202050201" pitchFamily="34" charset="0"/>
              </a:rPr>
              <a:t>3 MACHINES, 1 SYSTEM </a:t>
            </a:r>
          </a:p>
        </p:txBody>
      </p:sp>
      <p:grpSp>
        <p:nvGrpSpPr>
          <p:cNvPr id="16" name="Silos" descr="{&quot;Key&quot;:&quot;POWER_USER_SHAPE_ICON&quot;,&quot;Value&quot;:&quot;POWER_USER_SHAPE_ICON_STYLE_1&quot;}">
            <a:extLst>
              <a:ext uri="{FF2B5EF4-FFF2-40B4-BE49-F238E27FC236}">
                <a16:creationId xmlns:a16="http://schemas.microsoft.com/office/drawing/2014/main" id="{A660F0E6-8D66-426C-BA24-5F5946774B8E}"/>
              </a:ext>
            </a:extLst>
          </p:cNvPr>
          <p:cNvGrpSpPr>
            <a:grpSpLocks noChangeAspect="1"/>
          </p:cNvGrpSpPr>
          <p:nvPr>
            <p:custDataLst>
              <p:tags r:id="rId1"/>
            </p:custDataLst>
          </p:nvPr>
        </p:nvGrpSpPr>
        <p:grpSpPr>
          <a:xfrm>
            <a:off x="1364880" y="2481881"/>
            <a:ext cx="2680440" cy="1845232"/>
            <a:chOff x="3770313" y="2092325"/>
            <a:chExt cx="657225" cy="452438"/>
          </a:xfrm>
          <a:solidFill>
            <a:schemeClr val="tx1">
              <a:lumMod val="65000"/>
              <a:lumOff val="35000"/>
            </a:schemeClr>
          </a:solidFill>
        </p:grpSpPr>
        <p:sp>
          <p:nvSpPr>
            <p:cNvPr id="17" name="Freeform 1352">
              <a:extLst>
                <a:ext uri="{FF2B5EF4-FFF2-40B4-BE49-F238E27FC236}">
                  <a16:creationId xmlns:a16="http://schemas.microsoft.com/office/drawing/2014/main" id="{8465209F-D17E-4906-8388-7D2DBC86A9FA}"/>
                </a:ext>
              </a:extLst>
            </p:cNvPr>
            <p:cNvSpPr>
              <a:spLocks noEditPoints="1"/>
            </p:cNvSpPr>
            <p:nvPr/>
          </p:nvSpPr>
          <p:spPr bwMode="auto">
            <a:xfrm>
              <a:off x="3778251" y="2130425"/>
              <a:ext cx="298450" cy="414338"/>
            </a:xfrm>
            <a:custGeom>
              <a:avLst/>
              <a:gdLst>
                <a:gd name="T0" fmla="*/ 283 w 4233"/>
                <a:gd name="T1" fmla="*/ 5558 h 5841"/>
                <a:gd name="T2" fmla="*/ 3950 w 4233"/>
                <a:gd name="T3" fmla="*/ 5558 h 5841"/>
                <a:gd name="T4" fmla="*/ 3950 w 4233"/>
                <a:gd name="T5" fmla="*/ 1738 h 5841"/>
                <a:gd name="T6" fmla="*/ 3897 w 4233"/>
                <a:gd name="T7" fmla="*/ 1711 h 5841"/>
                <a:gd name="T8" fmla="*/ 2223 w 4233"/>
                <a:gd name="T9" fmla="*/ 331 h 5841"/>
                <a:gd name="T10" fmla="*/ 293 w 4233"/>
                <a:gd name="T11" fmla="*/ 1714 h 5841"/>
                <a:gd name="T12" fmla="*/ 283 w 4233"/>
                <a:gd name="T13" fmla="*/ 1721 h 5841"/>
                <a:gd name="T14" fmla="*/ 283 w 4233"/>
                <a:gd name="T15" fmla="*/ 5558 h 5841"/>
                <a:gd name="T16" fmla="*/ 4091 w 4233"/>
                <a:gd name="T17" fmla="*/ 5841 h 5841"/>
                <a:gd name="T18" fmla="*/ 141 w 4233"/>
                <a:gd name="T19" fmla="*/ 5841 h 5841"/>
                <a:gd name="T20" fmla="*/ 0 w 4233"/>
                <a:gd name="T21" fmla="*/ 5699 h 5841"/>
                <a:gd name="T22" fmla="*/ 0 w 4233"/>
                <a:gd name="T23" fmla="*/ 1599 h 5841"/>
                <a:gd name="T24" fmla="*/ 141 w 4233"/>
                <a:gd name="T25" fmla="*/ 1457 h 5841"/>
                <a:gd name="T26" fmla="*/ 165 w 4233"/>
                <a:gd name="T27" fmla="*/ 1457 h 5841"/>
                <a:gd name="T28" fmla="*/ 2146 w 4233"/>
                <a:gd name="T29" fmla="*/ 38 h 5841"/>
                <a:gd name="T30" fmla="*/ 2319 w 4233"/>
                <a:gd name="T31" fmla="*/ 43 h 5841"/>
                <a:gd name="T32" fmla="*/ 4033 w 4233"/>
                <a:gd name="T33" fmla="*/ 1456 h 5841"/>
                <a:gd name="T34" fmla="*/ 4081 w 4233"/>
                <a:gd name="T35" fmla="*/ 1452 h 5841"/>
                <a:gd name="T36" fmla="*/ 4188 w 4233"/>
                <a:gd name="T37" fmla="*/ 1489 h 5841"/>
                <a:gd name="T38" fmla="*/ 4233 w 4233"/>
                <a:gd name="T39" fmla="*/ 1593 h 5841"/>
                <a:gd name="T40" fmla="*/ 4233 w 4233"/>
                <a:gd name="T41" fmla="*/ 5699 h 5841"/>
                <a:gd name="T42" fmla="*/ 4091 w 4233"/>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3" h="5841">
                  <a:moveTo>
                    <a:pt x="283" y="5558"/>
                  </a:moveTo>
                  <a:lnTo>
                    <a:pt x="3950" y="5558"/>
                  </a:lnTo>
                  <a:lnTo>
                    <a:pt x="3950" y="1738"/>
                  </a:lnTo>
                  <a:cubicBezTo>
                    <a:pt x="3931" y="1732"/>
                    <a:pt x="3913" y="1723"/>
                    <a:pt x="3897" y="1711"/>
                  </a:cubicBezTo>
                  <a:lnTo>
                    <a:pt x="2223" y="331"/>
                  </a:lnTo>
                  <a:lnTo>
                    <a:pt x="293" y="1714"/>
                  </a:lnTo>
                  <a:cubicBezTo>
                    <a:pt x="290" y="1716"/>
                    <a:pt x="286" y="1719"/>
                    <a:pt x="283" y="1721"/>
                  </a:cubicBezTo>
                  <a:lnTo>
                    <a:pt x="283" y="5558"/>
                  </a:lnTo>
                  <a:close/>
                  <a:moveTo>
                    <a:pt x="4091" y="5841"/>
                  </a:moveTo>
                  <a:lnTo>
                    <a:pt x="141" y="5841"/>
                  </a:lnTo>
                  <a:cubicBezTo>
                    <a:pt x="63" y="5841"/>
                    <a:pt x="0" y="5777"/>
                    <a:pt x="0" y="5699"/>
                  </a:cubicBezTo>
                  <a:lnTo>
                    <a:pt x="0" y="1599"/>
                  </a:lnTo>
                  <a:cubicBezTo>
                    <a:pt x="0" y="1521"/>
                    <a:pt x="63" y="1457"/>
                    <a:pt x="141" y="1457"/>
                  </a:cubicBezTo>
                  <a:lnTo>
                    <a:pt x="165" y="1457"/>
                  </a:lnTo>
                  <a:lnTo>
                    <a:pt x="2146" y="38"/>
                  </a:lnTo>
                  <a:cubicBezTo>
                    <a:pt x="2198" y="0"/>
                    <a:pt x="2269" y="2"/>
                    <a:pt x="2319" y="43"/>
                  </a:cubicBezTo>
                  <a:lnTo>
                    <a:pt x="4033" y="1456"/>
                  </a:lnTo>
                  <a:lnTo>
                    <a:pt x="4081" y="1452"/>
                  </a:lnTo>
                  <a:cubicBezTo>
                    <a:pt x="4120" y="1449"/>
                    <a:pt x="4159" y="1463"/>
                    <a:pt x="4188" y="1489"/>
                  </a:cubicBezTo>
                  <a:cubicBezTo>
                    <a:pt x="4217" y="1516"/>
                    <a:pt x="4233" y="1554"/>
                    <a:pt x="4233" y="1593"/>
                  </a:cubicBezTo>
                  <a:lnTo>
                    <a:pt x="4233" y="5699"/>
                  </a:lnTo>
                  <a:cubicBezTo>
                    <a:pt x="4233" y="5777"/>
                    <a:pt x="4170" y="5841"/>
                    <a:pt x="4091"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1353">
              <a:extLst>
                <a:ext uri="{FF2B5EF4-FFF2-40B4-BE49-F238E27FC236}">
                  <a16:creationId xmlns:a16="http://schemas.microsoft.com/office/drawing/2014/main" id="{B3947A32-4347-46E3-BD27-7065C0C189CF}"/>
                </a:ext>
              </a:extLst>
            </p:cNvPr>
            <p:cNvSpPr>
              <a:spLocks/>
            </p:cNvSpPr>
            <p:nvPr/>
          </p:nvSpPr>
          <p:spPr bwMode="auto">
            <a:xfrm>
              <a:off x="37703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354">
              <a:extLst>
                <a:ext uri="{FF2B5EF4-FFF2-40B4-BE49-F238E27FC236}">
                  <a16:creationId xmlns:a16="http://schemas.microsoft.com/office/drawing/2014/main" id="{E891ADF3-F4E2-443D-8B47-B3075C801F97}"/>
                </a:ext>
              </a:extLst>
            </p:cNvPr>
            <p:cNvSpPr>
              <a:spLocks noEditPoints="1"/>
            </p:cNvSpPr>
            <p:nvPr/>
          </p:nvSpPr>
          <p:spPr bwMode="auto">
            <a:xfrm>
              <a:off x="4121151" y="2130425"/>
              <a:ext cx="300038" cy="414338"/>
            </a:xfrm>
            <a:custGeom>
              <a:avLst/>
              <a:gdLst>
                <a:gd name="T0" fmla="*/ 284 w 4234"/>
                <a:gd name="T1" fmla="*/ 5557 h 5841"/>
                <a:gd name="T2" fmla="*/ 3950 w 4234"/>
                <a:gd name="T3" fmla="*/ 5557 h 5841"/>
                <a:gd name="T4" fmla="*/ 3950 w 4234"/>
                <a:gd name="T5" fmla="*/ 1739 h 5841"/>
                <a:gd name="T6" fmla="*/ 3894 w 4234"/>
                <a:gd name="T7" fmla="*/ 1711 h 5841"/>
                <a:gd name="T8" fmla="*/ 2216 w 4234"/>
                <a:gd name="T9" fmla="*/ 331 h 5841"/>
                <a:gd name="T10" fmla="*/ 286 w 4234"/>
                <a:gd name="T11" fmla="*/ 1715 h 5841"/>
                <a:gd name="T12" fmla="*/ 284 w 4234"/>
                <a:gd name="T13" fmla="*/ 1716 h 5841"/>
                <a:gd name="T14" fmla="*/ 284 w 4234"/>
                <a:gd name="T15" fmla="*/ 5557 h 5841"/>
                <a:gd name="T16" fmla="*/ 4092 w 4234"/>
                <a:gd name="T17" fmla="*/ 5841 h 5841"/>
                <a:gd name="T18" fmla="*/ 142 w 4234"/>
                <a:gd name="T19" fmla="*/ 5841 h 5841"/>
                <a:gd name="T20" fmla="*/ 0 w 4234"/>
                <a:gd name="T21" fmla="*/ 5700 h 5841"/>
                <a:gd name="T22" fmla="*/ 0 w 4234"/>
                <a:gd name="T23" fmla="*/ 1599 h 5841"/>
                <a:gd name="T24" fmla="*/ 142 w 4234"/>
                <a:gd name="T25" fmla="*/ 1458 h 5841"/>
                <a:gd name="T26" fmla="*/ 158 w 4234"/>
                <a:gd name="T27" fmla="*/ 1458 h 5841"/>
                <a:gd name="T28" fmla="*/ 2139 w 4234"/>
                <a:gd name="T29" fmla="*/ 37 h 5841"/>
                <a:gd name="T30" fmla="*/ 2312 w 4234"/>
                <a:gd name="T31" fmla="*/ 43 h 5841"/>
                <a:gd name="T32" fmla="*/ 4030 w 4234"/>
                <a:gd name="T33" fmla="*/ 1456 h 5841"/>
                <a:gd name="T34" fmla="*/ 4082 w 4234"/>
                <a:gd name="T35" fmla="*/ 1452 h 5841"/>
                <a:gd name="T36" fmla="*/ 4189 w 4234"/>
                <a:gd name="T37" fmla="*/ 1490 h 5841"/>
                <a:gd name="T38" fmla="*/ 4234 w 4234"/>
                <a:gd name="T39" fmla="*/ 1594 h 5841"/>
                <a:gd name="T40" fmla="*/ 4234 w 4234"/>
                <a:gd name="T41" fmla="*/ 5700 h 5841"/>
                <a:gd name="T42" fmla="*/ 4092 w 4234"/>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4" h="5841">
                  <a:moveTo>
                    <a:pt x="284" y="5557"/>
                  </a:moveTo>
                  <a:lnTo>
                    <a:pt x="3950" y="5557"/>
                  </a:lnTo>
                  <a:lnTo>
                    <a:pt x="3950" y="1739"/>
                  </a:lnTo>
                  <a:cubicBezTo>
                    <a:pt x="3930" y="1734"/>
                    <a:pt x="3911" y="1724"/>
                    <a:pt x="3894" y="1711"/>
                  </a:cubicBezTo>
                  <a:lnTo>
                    <a:pt x="2216" y="331"/>
                  </a:lnTo>
                  <a:lnTo>
                    <a:pt x="286" y="1715"/>
                  </a:lnTo>
                  <a:cubicBezTo>
                    <a:pt x="285" y="1715"/>
                    <a:pt x="285" y="1715"/>
                    <a:pt x="284" y="1716"/>
                  </a:cubicBezTo>
                  <a:lnTo>
                    <a:pt x="284" y="5557"/>
                  </a:lnTo>
                  <a:close/>
                  <a:moveTo>
                    <a:pt x="4092" y="5841"/>
                  </a:moveTo>
                  <a:lnTo>
                    <a:pt x="142" y="5841"/>
                  </a:lnTo>
                  <a:cubicBezTo>
                    <a:pt x="64" y="5841"/>
                    <a:pt x="0" y="5778"/>
                    <a:pt x="0" y="5700"/>
                  </a:cubicBezTo>
                  <a:lnTo>
                    <a:pt x="0" y="1599"/>
                  </a:lnTo>
                  <a:cubicBezTo>
                    <a:pt x="0" y="1521"/>
                    <a:pt x="64" y="1458"/>
                    <a:pt x="142" y="1458"/>
                  </a:cubicBezTo>
                  <a:lnTo>
                    <a:pt x="158" y="1458"/>
                  </a:lnTo>
                  <a:lnTo>
                    <a:pt x="2139" y="37"/>
                  </a:lnTo>
                  <a:cubicBezTo>
                    <a:pt x="2192" y="0"/>
                    <a:pt x="2262" y="3"/>
                    <a:pt x="2312" y="43"/>
                  </a:cubicBezTo>
                  <a:lnTo>
                    <a:pt x="4030" y="1456"/>
                  </a:lnTo>
                  <a:lnTo>
                    <a:pt x="4082" y="1452"/>
                  </a:lnTo>
                  <a:cubicBezTo>
                    <a:pt x="4121" y="1449"/>
                    <a:pt x="4160" y="1463"/>
                    <a:pt x="4189" y="1490"/>
                  </a:cubicBezTo>
                  <a:cubicBezTo>
                    <a:pt x="4217" y="1517"/>
                    <a:pt x="4234" y="1554"/>
                    <a:pt x="4234" y="1594"/>
                  </a:cubicBezTo>
                  <a:lnTo>
                    <a:pt x="4234" y="5700"/>
                  </a:lnTo>
                  <a:cubicBezTo>
                    <a:pt x="4234" y="5778"/>
                    <a:pt x="4170" y="5841"/>
                    <a:pt x="4092"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1355">
              <a:extLst>
                <a:ext uri="{FF2B5EF4-FFF2-40B4-BE49-F238E27FC236}">
                  <a16:creationId xmlns:a16="http://schemas.microsoft.com/office/drawing/2014/main" id="{6D86136E-D11A-4610-AABA-D339EFD392C7}"/>
                </a:ext>
              </a:extLst>
            </p:cNvPr>
            <p:cNvSpPr>
              <a:spLocks/>
            </p:cNvSpPr>
            <p:nvPr/>
          </p:nvSpPr>
          <p:spPr bwMode="auto">
            <a:xfrm>
              <a:off x="41132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1356">
              <a:extLst>
                <a:ext uri="{FF2B5EF4-FFF2-40B4-BE49-F238E27FC236}">
                  <a16:creationId xmlns:a16="http://schemas.microsoft.com/office/drawing/2014/main" id="{85922CBA-A45A-4755-A90C-B883ADDF4C55}"/>
                </a:ext>
              </a:extLst>
            </p:cNvPr>
            <p:cNvSpPr>
              <a:spLocks/>
            </p:cNvSpPr>
            <p:nvPr/>
          </p:nvSpPr>
          <p:spPr bwMode="auto">
            <a:xfrm>
              <a:off x="3924301" y="2093913"/>
              <a:ext cx="20638" cy="57150"/>
            </a:xfrm>
            <a:custGeom>
              <a:avLst/>
              <a:gdLst>
                <a:gd name="T0" fmla="*/ 142 w 283"/>
                <a:gd name="T1" fmla="*/ 800 h 800"/>
                <a:gd name="T2" fmla="*/ 0 w 283"/>
                <a:gd name="T3" fmla="*/ 658 h 800"/>
                <a:gd name="T4" fmla="*/ 0 w 283"/>
                <a:gd name="T5" fmla="*/ 141 h 800"/>
                <a:gd name="T6" fmla="*/ 142 w 283"/>
                <a:gd name="T7" fmla="*/ 0 h 800"/>
                <a:gd name="T8" fmla="*/ 283 w 283"/>
                <a:gd name="T9" fmla="*/ 141 h 800"/>
                <a:gd name="T10" fmla="*/ 283 w 283"/>
                <a:gd name="T11" fmla="*/ 658 h 800"/>
                <a:gd name="T12" fmla="*/ 142 w 283"/>
                <a:gd name="T13" fmla="*/ 800 h 800"/>
              </a:gdLst>
              <a:ahLst/>
              <a:cxnLst>
                <a:cxn ang="0">
                  <a:pos x="T0" y="T1"/>
                </a:cxn>
                <a:cxn ang="0">
                  <a:pos x="T2" y="T3"/>
                </a:cxn>
                <a:cxn ang="0">
                  <a:pos x="T4" y="T5"/>
                </a:cxn>
                <a:cxn ang="0">
                  <a:pos x="T6" y="T7"/>
                </a:cxn>
                <a:cxn ang="0">
                  <a:pos x="T8" y="T9"/>
                </a:cxn>
                <a:cxn ang="0">
                  <a:pos x="T10" y="T11"/>
                </a:cxn>
                <a:cxn ang="0">
                  <a:pos x="T12" y="T13"/>
                </a:cxn>
              </a:cxnLst>
              <a:rect l="0" t="0" r="r" b="b"/>
              <a:pathLst>
                <a:path w="283" h="800">
                  <a:moveTo>
                    <a:pt x="142" y="800"/>
                  </a:moveTo>
                  <a:cubicBezTo>
                    <a:pt x="64" y="800"/>
                    <a:pt x="0" y="736"/>
                    <a:pt x="0" y="658"/>
                  </a:cubicBezTo>
                  <a:lnTo>
                    <a:pt x="0" y="141"/>
                  </a:lnTo>
                  <a:cubicBezTo>
                    <a:pt x="0" y="63"/>
                    <a:pt x="64" y="0"/>
                    <a:pt x="142" y="0"/>
                  </a:cubicBezTo>
                  <a:cubicBezTo>
                    <a:pt x="220" y="0"/>
                    <a:pt x="283" y="63"/>
                    <a:pt x="283" y="141"/>
                  </a:cubicBezTo>
                  <a:lnTo>
                    <a:pt x="283" y="658"/>
                  </a:lnTo>
                  <a:cubicBezTo>
                    <a:pt x="283" y="736"/>
                    <a:pt x="220" y="800"/>
                    <a:pt x="142" y="8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1357">
              <a:extLst>
                <a:ext uri="{FF2B5EF4-FFF2-40B4-BE49-F238E27FC236}">
                  <a16:creationId xmlns:a16="http://schemas.microsoft.com/office/drawing/2014/main" id="{82B6E3EB-E620-409B-A83B-1A935582FF66}"/>
                </a:ext>
              </a:extLst>
            </p:cNvPr>
            <p:cNvSpPr>
              <a:spLocks/>
            </p:cNvSpPr>
            <p:nvPr/>
          </p:nvSpPr>
          <p:spPr bwMode="auto">
            <a:xfrm>
              <a:off x="4267201" y="2098675"/>
              <a:ext cx="20638" cy="52388"/>
            </a:xfrm>
            <a:custGeom>
              <a:avLst/>
              <a:gdLst>
                <a:gd name="T0" fmla="*/ 142 w 283"/>
                <a:gd name="T1" fmla="*/ 734 h 734"/>
                <a:gd name="T2" fmla="*/ 0 w 283"/>
                <a:gd name="T3" fmla="*/ 592 h 734"/>
                <a:gd name="T4" fmla="*/ 0 w 283"/>
                <a:gd name="T5" fmla="*/ 142 h 734"/>
                <a:gd name="T6" fmla="*/ 142 w 283"/>
                <a:gd name="T7" fmla="*/ 0 h 734"/>
                <a:gd name="T8" fmla="*/ 283 w 283"/>
                <a:gd name="T9" fmla="*/ 142 h 734"/>
                <a:gd name="T10" fmla="*/ 283 w 283"/>
                <a:gd name="T11" fmla="*/ 592 h 734"/>
                <a:gd name="T12" fmla="*/ 142 w 283"/>
                <a:gd name="T13" fmla="*/ 734 h 734"/>
              </a:gdLst>
              <a:ahLst/>
              <a:cxnLst>
                <a:cxn ang="0">
                  <a:pos x="T0" y="T1"/>
                </a:cxn>
                <a:cxn ang="0">
                  <a:pos x="T2" y="T3"/>
                </a:cxn>
                <a:cxn ang="0">
                  <a:pos x="T4" y="T5"/>
                </a:cxn>
                <a:cxn ang="0">
                  <a:pos x="T6" y="T7"/>
                </a:cxn>
                <a:cxn ang="0">
                  <a:pos x="T8" y="T9"/>
                </a:cxn>
                <a:cxn ang="0">
                  <a:pos x="T10" y="T11"/>
                </a:cxn>
                <a:cxn ang="0">
                  <a:pos x="T12" y="T13"/>
                </a:cxn>
              </a:cxnLst>
              <a:rect l="0" t="0" r="r" b="b"/>
              <a:pathLst>
                <a:path w="283" h="734">
                  <a:moveTo>
                    <a:pt x="142" y="734"/>
                  </a:moveTo>
                  <a:cubicBezTo>
                    <a:pt x="64" y="734"/>
                    <a:pt x="0" y="670"/>
                    <a:pt x="0" y="592"/>
                  </a:cubicBezTo>
                  <a:lnTo>
                    <a:pt x="0" y="142"/>
                  </a:lnTo>
                  <a:cubicBezTo>
                    <a:pt x="0" y="64"/>
                    <a:pt x="64" y="0"/>
                    <a:pt x="142" y="0"/>
                  </a:cubicBezTo>
                  <a:cubicBezTo>
                    <a:pt x="220" y="0"/>
                    <a:pt x="283" y="64"/>
                    <a:pt x="283" y="142"/>
                  </a:cubicBezTo>
                  <a:lnTo>
                    <a:pt x="283" y="592"/>
                  </a:lnTo>
                  <a:cubicBezTo>
                    <a:pt x="283" y="670"/>
                    <a:pt x="220" y="734"/>
                    <a:pt x="142" y="7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1358">
              <a:extLst>
                <a:ext uri="{FF2B5EF4-FFF2-40B4-BE49-F238E27FC236}">
                  <a16:creationId xmlns:a16="http://schemas.microsoft.com/office/drawing/2014/main" id="{40A22314-935E-44D8-B7B8-8FD169FF1B11}"/>
                </a:ext>
              </a:extLst>
            </p:cNvPr>
            <p:cNvSpPr>
              <a:spLocks/>
            </p:cNvSpPr>
            <p:nvPr/>
          </p:nvSpPr>
          <p:spPr bwMode="auto">
            <a:xfrm>
              <a:off x="3924301" y="2092325"/>
              <a:ext cx="363538" cy="20638"/>
            </a:xfrm>
            <a:custGeom>
              <a:avLst/>
              <a:gdLst>
                <a:gd name="T0" fmla="*/ 4991 w 5133"/>
                <a:gd name="T1" fmla="*/ 283 h 283"/>
                <a:gd name="T2" fmla="*/ 141 w 5133"/>
                <a:gd name="T3" fmla="*/ 283 h 283"/>
                <a:gd name="T4" fmla="*/ 0 w 5133"/>
                <a:gd name="T5" fmla="*/ 141 h 283"/>
                <a:gd name="T6" fmla="*/ 141 w 5133"/>
                <a:gd name="T7" fmla="*/ 0 h 283"/>
                <a:gd name="T8" fmla="*/ 4991 w 5133"/>
                <a:gd name="T9" fmla="*/ 0 h 283"/>
                <a:gd name="T10" fmla="*/ 5133 w 5133"/>
                <a:gd name="T11" fmla="*/ 141 h 283"/>
                <a:gd name="T12" fmla="*/ 4991 w 5133"/>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5133" h="283">
                  <a:moveTo>
                    <a:pt x="4991" y="283"/>
                  </a:moveTo>
                  <a:lnTo>
                    <a:pt x="141" y="283"/>
                  </a:lnTo>
                  <a:cubicBezTo>
                    <a:pt x="63" y="283"/>
                    <a:pt x="0" y="220"/>
                    <a:pt x="0" y="141"/>
                  </a:cubicBezTo>
                  <a:cubicBezTo>
                    <a:pt x="0" y="63"/>
                    <a:pt x="63" y="0"/>
                    <a:pt x="141" y="0"/>
                  </a:cubicBezTo>
                  <a:lnTo>
                    <a:pt x="4991" y="0"/>
                  </a:lnTo>
                  <a:cubicBezTo>
                    <a:pt x="5070" y="0"/>
                    <a:pt x="5133" y="63"/>
                    <a:pt x="5133" y="141"/>
                  </a:cubicBezTo>
                  <a:cubicBezTo>
                    <a:pt x="5133" y="220"/>
                    <a:pt x="5070" y="283"/>
                    <a:pt x="4991"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1359">
              <a:extLst>
                <a:ext uri="{FF2B5EF4-FFF2-40B4-BE49-F238E27FC236}">
                  <a16:creationId xmlns:a16="http://schemas.microsoft.com/office/drawing/2014/main" id="{F1294902-46A0-419F-BBD2-5F1CBAC0354D}"/>
                </a:ext>
              </a:extLst>
            </p:cNvPr>
            <p:cNvSpPr>
              <a:spLocks/>
            </p:cNvSpPr>
            <p:nvPr/>
          </p:nvSpPr>
          <p:spPr bwMode="auto">
            <a:xfrm>
              <a:off x="3829051"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1360">
              <a:extLst>
                <a:ext uri="{FF2B5EF4-FFF2-40B4-BE49-F238E27FC236}">
                  <a16:creationId xmlns:a16="http://schemas.microsoft.com/office/drawing/2014/main" id="{8B560E4A-45D2-4A32-89F2-0DB6860F0435}"/>
                </a:ext>
              </a:extLst>
            </p:cNvPr>
            <p:cNvSpPr>
              <a:spLocks/>
            </p:cNvSpPr>
            <p:nvPr/>
          </p:nvSpPr>
          <p:spPr bwMode="auto">
            <a:xfrm>
              <a:off x="3884613"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1361">
              <a:extLst>
                <a:ext uri="{FF2B5EF4-FFF2-40B4-BE49-F238E27FC236}">
                  <a16:creationId xmlns:a16="http://schemas.microsoft.com/office/drawing/2014/main" id="{95BB8ED4-B7A8-4AF3-B67E-74F065B28266}"/>
                </a:ext>
              </a:extLst>
            </p:cNvPr>
            <p:cNvSpPr>
              <a:spLocks/>
            </p:cNvSpPr>
            <p:nvPr/>
          </p:nvSpPr>
          <p:spPr bwMode="auto">
            <a:xfrm>
              <a:off x="3937001"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1362">
              <a:extLst>
                <a:ext uri="{FF2B5EF4-FFF2-40B4-BE49-F238E27FC236}">
                  <a16:creationId xmlns:a16="http://schemas.microsoft.com/office/drawing/2014/main" id="{07F00127-D4E5-4411-B337-8ADA2397AD02}"/>
                </a:ext>
              </a:extLst>
            </p:cNvPr>
            <p:cNvSpPr>
              <a:spLocks/>
            </p:cNvSpPr>
            <p:nvPr/>
          </p:nvSpPr>
          <p:spPr bwMode="auto">
            <a:xfrm>
              <a:off x="3997326"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1363">
              <a:extLst>
                <a:ext uri="{FF2B5EF4-FFF2-40B4-BE49-F238E27FC236}">
                  <a16:creationId xmlns:a16="http://schemas.microsoft.com/office/drawing/2014/main" id="{753217C3-AEE9-47FC-9B7F-10B922A585E4}"/>
                </a:ext>
              </a:extLst>
            </p:cNvPr>
            <p:cNvSpPr>
              <a:spLocks/>
            </p:cNvSpPr>
            <p:nvPr/>
          </p:nvSpPr>
          <p:spPr bwMode="auto">
            <a:xfrm>
              <a:off x="4178301"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1364">
              <a:extLst>
                <a:ext uri="{FF2B5EF4-FFF2-40B4-BE49-F238E27FC236}">
                  <a16:creationId xmlns:a16="http://schemas.microsoft.com/office/drawing/2014/main" id="{3436D22C-232C-41B2-9B40-68E34A37AB17}"/>
                </a:ext>
              </a:extLst>
            </p:cNvPr>
            <p:cNvSpPr>
              <a:spLocks/>
            </p:cNvSpPr>
            <p:nvPr/>
          </p:nvSpPr>
          <p:spPr bwMode="auto">
            <a:xfrm>
              <a:off x="4233863"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1365">
              <a:extLst>
                <a:ext uri="{FF2B5EF4-FFF2-40B4-BE49-F238E27FC236}">
                  <a16:creationId xmlns:a16="http://schemas.microsoft.com/office/drawing/2014/main" id="{3F7C0D44-1F1E-4629-AD0D-22E30E7D6AAE}"/>
                </a:ext>
              </a:extLst>
            </p:cNvPr>
            <p:cNvSpPr>
              <a:spLocks/>
            </p:cNvSpPr>
            <p:nvPr/>
          </p:nvSpPr>
          <p:spPr bwMode="auto">
            <a:xfrm>
              <a:off x="4286251" y="2293938"/>
              <a:ext cx="19050"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1366">
              <a:extLst>
                <a:ext uri="{FF2B5EF4-FFF2-40B4-BE49-F238E27FC236}">
                  <a16:creationId xmlns:a16="http://schemas.microsoft.com/office/drawing/2014/main" id="{7038D836-C8E8-4595-9789-0B5EB8DF3F1E}"/>
                </a:ext>
              </a:extLst>
            </p:cNvPr>
            <p:cNvSpPr>
              <a:spLocks/>
            </p:cNvSpPr>
            <p:nvPr/>
          </p:nvSpPr>
          <p:spPr bwMode="auto">
            <a:xfrm>
              <a:off x="4344988"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 name="TextBox 11">
            <a:extLst>
              <a:ext uri="{FF2B5EF4-FFF2-40B4-BE49-F238E27FC236}">
                <a16:creationId xmlns:a16="http://schemas.microsoft.com/office/drawing/2014/main" id="{81960B73-AF41-4791-803C-E6D0D3BAB48F}"/>
              </a:ext>
            </a:extLst>
          </p:cNvPr>
          <p:cNvSpPr txBox="1"/>
          <p:nvPr/>
        </p:nvSpPr>
        <p:spPr>
          <a:xfrm>
            <a:off x="1397255" y="4473677"/>
            <a:ext cx="2545480" cy="523220"/>
          </a:xfrm>
          <a:prstGeom prst="rect">
            <a:avLst/>
          </a:prstGeom>
          <a:noFill/>
        </p:spPr>
        <p:txBody>
          <a:bodyPr wrap="square" rtlCol="0">
            <a:spAutoFit/>
          </a:bodyPr>
          <a:lstStyle/>
          <a:p>
            <a:pPr algn="ctr"/>
            <a:r>
              <a:rPr lang="en-SG" sz="2800" dirty="0">
                <a:solidFill>
                  <a:schemeClr val="tx1">
                    <a:lumMod val="50000"/>
                    <a:lumOff val="50000"/>
                  </a:schemeClr>
                </a:solidFill>
                <a:latin typeface="Quicksand Book" panose="02070303000000060000" pitchFamily="18" charset="0"/>
              </a:rPr>
              <a:t>PHOBO</a:t>
            </a:r>
          </a:p>
        </p:txBody>
      </p:sp>
      <p:grpSp>
        <p:nvGrpSpPr>
          <p:cNvPr id="33" name="Silos" descr="{&quot;Key&quot;:&quot;POWER_USER_SHAPE_ICON&quot;,&quot;Value&quot;:&quot;POWER_USER_SHAPE_ICON_STYLE_1&quot;}">
            <a:extLst>
              <a:ext uri="{FF2B5EF4-FFF2-40B4-BE49-F238E27FC236}">
                <a16:creationId xmlns:a16="http://schemas.microsoft.com/office/drawing/2014/main" id="{763BCC65-7D4C-4676-AE8D-D4EBFFCFABD8}"/>
              </a:ext>
            </a:extLst>
          </p:cNvPr>
          <p:cNvGrpSpPr>
            <a:grpSpLocks noChangeAspect="1"/>
          </p:cNvGrpSpPr>
          <p:nvPr>
            <p:custDataLst>
              <p:tags r:id="rId2"/>
            </p:custDataLst>
          </p:nvPr>
        </p:nvGrpSpPr>
        <p:grpSpPr>
          <a:xfrm>
            <a:off x="4765924" y="2478018"/>
            <a:ext cx="2680440" cy="1845232"/>
            <a:chOff x="3770313" y="2092325"/>
            <a:chExt cx="657225" cy="452438"/>
          </a:xfrm>
          <a:solidFill>
            <a:schemeClr val="tx1">
              <a:lumMod val="65000"/>
              <a:lumOff val="35000"/>
            </a:schemeClr>
          </a:solidFill>
        </p:grpSpPr>
        <p:sp>
          <p:nvSpPr>
            <p:cNvPr id="34" name="Freeform 1352">
              <a:extLst>
                <a:ext uri="{FF2B5EF4-FFF2-40B4-BE49-F238E27FC236}">
                  <a16:creationId xmlns:a16="http://schemas.microsoft.com/office/drawing/2014/main" id="{130062A4-218C-41A6-89C6-87734ED25E9A}"/>
                </a:ext>
              </a:extLst>
            </p:cNvPr>
            <p:cNvSpPr>
              <a:spLocks noEditPoints="1"/>
            </p:cNvSpPr>
            <p:nvPr/>
          </p:nvSpPr>
          <p:spPr bwMode="auto">
            <a:xfrm>
              <a:off x="3778251" y="2130425"/>
              <a:ext cx="298450" cy="414338"/>
            </a:xfrm>
            <a:custGeom>
              <a:avLst/>
              <a:gdLst>
                <a:gd name="T0" fmla="*/ 283 w 4233"/>
                <a:gd name="T1" fmla="*/ 5558 h 5841"/>
                <a:gd name="T2" fmla="*/ 3950 w 4233"/>
                <a:gd name="T3" fmla="*/ 5558 h 5841"/>
                <a:gd name="T4" fmla="*/ 3950 w 4233"/>
                <a:gd name="T5" fmla="*/ 1738 h 5841"/>
                <a:gd name="T6" fmla="*/ 3897 w 4233"/>
                <a:gd name="T7" fmla="*/ 1711 h 5841"/>
                <a:gd name="T8" fmla="*/ 2223 w 4233"/>
                <a:gd name="T9" fmla="*/ 331 h 5841"/>
                <a:gd name="T10" fmla="*/ 293 w 4233"/>
                <a:gd name="T11" fmla="*/ 1714 h 5841"/>
                <a:gd name="T12" fmla="*/ 283 w 4233"/>
                <a:gd name="T13" fmla="*/ 1721 h 5841"/>
                <a:gd name="T14" fmla="*/ 283 w 4233"/>
                <a:gd name="T15" fmla="*/ 5558 h 5841"/>
                <a:gd name="T16" fmla="*/ 4091 w 4233"/>
                <a:gd name="T17" fmla="*/ 5841 h 5841"/>
                <a:gd name="T18" fmla="*/ 141 w 4233"/>
                <a:gd name="T19" fmla="*/ 5841 h 5841"/>
                <a:gd name="T20" fmla="*/ 0 w 4233"/>
                <a:gd name="T21" fmla="*/ 5699 h 5841"/>
                <a:gd name="T22" fmla="*/ 0 w 4233"/>
                <a:gd name="T23" fmla="*/ 1599 h 5841"/>
                <a:gd name="T24" fmla="*/ 141 w 4233"/>
                <a:gd name="T25" fmla="*/ 1457 h 5841"/>
                <a:gd name="T26" fmla="*/ 165 w 4233"/>
                <a:gd name="T27" fmla="*/ 1457 h 5841"/>
                <a:gd name="T28" fmla="*/ 2146 w 4233"/>
                <a:gd name="T29" fmla="*/ 38 h 5841"/>
                <a:gd name="T30" fmla="*/ 2319 w 4233"/>
                <a:gd name="T31" fmla="*/ 43 h 5841"/>
                <a:gd name="T32" fmla="*/ 4033 w 4233"/>
                <a:gd name="T33" fmla="*/ 1456 h 5841"/>
                <a:gd name="T34" fmla="*/ 4081 w 4233"/>
                <a:gd name="T35" fmla="*/ 1452 h 5841"/>
                <a:gd name="T36" fmla="*/ 4188 w 4233"/>
                <a:gd name="T37" fmla="*/ 1489 h 5841"/>
                <a:gd name="T38" fmla="*/ 4233 w 4233"/>
                <a:gd name="T39" fmla="*/ 1593 h 5841"/>
                <a:gd name="T40" fmla="*/ 4233 w 4233"/>
                <a:gd name="T41" fmla="*/ 5699 h 5841"/>
                <a:gd name="T42" fmla="*/ 4091 w 4233"/>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3" h="5841">
                  <a:moveTo>
                    <a:pt x="283" y="5558"/>
                  </a:moveTo>
                  <a:lnTo>
                    <a:pt x="3950" y="5558"/>
                  </a:lnTo>
                  <a:lnTo>
                    <a:pt x="3950" y="1738"/>
                  </a:lnTo>
                  <a:cubicBezTo>
                    <a:pt x="3931" y="1732"/>
                    <a:pt x="3913" y="1723"/>
                    <a:pt x="3897" y="1711"/>
                  </a:cubicBezTo>
                  <a:lnTo>
                    <a:pt x="2223" y="331"/>
                  </a:lnTo>
                  <a:lnTo>
                    <a:pt x="293" y="1714"/>
                  </a:lnTo>
                  <a:cubicBezTo>
                    <a:pt x="290" y="1716"/>
                    <a:pt x="286" y="1719"/>
                    <a:pt x="283" y="1721"/>
                  </a:cubicBezTo>
                  <a:lnTo>
                    <a:pt x="283" y="5558"/>
                  </a:lnTo>
                  <a:close/>
                  <a:moveTo>
                    <a:pt x="4091" y="5841"/>
                  </a:moveTo>
                  <a:lnTo>
                    <a:pt x="141" y="5841"/>
                  </a:lnTo>
                  <a:cubicBezTo>
                    <a:pt x="63" y="5841"/>
                    <a:pt x="0" y="5777"/>
                    <a:pt x="0" y="5699"/>
                  </a:cubicBezTo>
                  <a:lnTo>
                    <a:pt x="0" y="1599"/>
                  </a:lnTo>
                  <a:cubicBezTo>
                    <a:pt x="0" y="1521"/>
                    <a:pt x="63" y="1457"/>
                    <a:pt x="141" y="1457"/>
                  </a:cubicBezTo>
                  <a:lnTo>
                    <a:pt x="165" y="1457"/>
                  </a:lnTo>
                  <a:lnTo>
                    <a:pt x="2146" y="38"/>
                  </a:lnTo>
                  <a:cubicBezTo>
                    <a:pt x="2198" y="0"/>
                    <a:pt x="2269" y="2"/>
                    <a:pt x="2319" y="43"/>
                  </a:cubicBezTo>
                  <a:lnTo>
                    <a:pt x="4033" y="1456"/>
                  </a:lnTo>
                  <a:lnTo>
                    <a:pt x="4081" y="1452"/>
                  </a:lnTo>
                  <a:cubicBezTo>
                    <a:pt x="4120" y="1449"/>
                    <a:pt x="4159" y="1463"/>
                    <a:pt x="4188" y="1489"/>
                  </a:cubicBezTo>
                  <a:cubicBezTo>
                    <a:pt x="4217" y="1516"/>
                    <a:pt x="4233" y="1554"/>
                    <a:pt x="4233" y="1593"/>
                  </a:cubicBezTo>
                  <a:lnTo>
                    <a:pt x="4233" y="5699"/>
                  </a:lnTo>
                  <a:cubicBezTo>
                    <a:pt x="4233" y="5777"/>
                    <a:pt x="4170" y="5841"/>
                    <a:pt x="4091"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1353">
              <a:extLst>
                <a:ext uri="{FF2B5EF4-FFF2-40B4-BE49-F238E27FC236}">
                  <a16:creationId xmlns:a16="http://schemas.microsoft.com/office/drawing/2014/main" id="{B77944D2-1482-44D3-8A1E-D45DAE5E4D72}"/>
                </a:ext>
              </a:extLst>
            </p:cNvPr>
            <p:cNvSpPr>
              <a:spLocks/>
            </p:cNvSpPr>
            <p:nvPr/>
          </p:nvSpPr>
          <p:spPr bwMode="auto">
            <a:xfrm>
              <a:off x="37703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354">
              <a:extLst>
                <a:ext uri="{FF2B5EF4-FFF2-40B4-BE49-F238E27FC236}">
                  <a16:creationId xmlns:a16="http://schemas.microsoft.com/office/drawing/2014/main" id="{F4EFE2BD-F44A-4201-91F8-7BA1756355BE}"/>
                </a:ext>
              </a:extLst>
            </p:cNvPr>
            <p:cNvSpPr>
              <a:spLocks noEditPoints="1"/>
            </p:cNvSpPr>
            <p:nvPr/>
          </p:nvSpPr>
          <p:spPr bwMode="auto">
            <a:xfrm>
              <a:off x="4121151" y="2130425"/>
              <a:ext cx="300038" cy="414338"/>
            </a:xfrm>
            <a:custGeom>
              <a:avLst/>
              <a:gdLst>
                <a:gd name="T0" fmla="*/ 284 w 4234"/>
                <a:gd name="T1" fmla="*/ 5557 h 5841"/>
                <a:gd name="T2" fmla="*/ 3950 w 4234"/>
                <a:gd name="T3" fmla="*/ 5557 h 5841"/>
                <a:gd name="T4" fmla="*/ 3950 w 4234"/>
                <a:gd name="T5" fmla="*/ 1739 h 5841"/>
                <a:gd name="T6" fmla="*/ 3894 w 4234"/>
                <a:gd name="T7" fmla="*/ 1711 h 5841"/>
                <a:gd name="T8" fmla="*/ 2216 w 4234"/>
                <a:gd name="T9" fmla="*/ 331 h 5841"/>
                <a:gd name="T10" fmla="*/ 286 w 4234"/>
                <a:gd name="T11" fmla="*/ 1715 h 5841"/>
                <a:gd name="T12" fmla="*/ 284 w 4234"/>
                <a:gd name="T13" fmla="*/ 1716 h 5841"/>
                <a:gd name="T14" fmla="*/ 284 w 4234"/>
                <a:gd name="T15" fmla="*/ 5557 h 5841"/>
                <a:gd name="T16" fmla="*/ 4092 w 4234"/>
                <a:gd name="T17" fmla="*/ 5841 h 5841"/>
                <a:gd name="T18" fmla="*/ 142 w 4234"/>
                <a:gd name="T19" fmla="*/ 5841 h 5841"/>
                <a:gd name="T20" fmla="*/ 0 w 4234"/>
                <a:gd name="T21" fmla="*/ 5700 h 5841"/>
                <a:gd name="T22" fmla="*/ 0 w 4234"/>
                <a:gd name="T23" fmla="*/ 1599 h 5841"/>
                <a:gd name="T24" fmla="*/ 142 w 4234"/>
                <a:gd name="T25" fmla="*/ 1458 h 5841"/>
                <a:gd name="T26" fmla="*/ 158 w 4234"/>
                <a:gd name="T27" fmla="*/ 1458 h 5841"/>
                <a:gd name="T28" fmla="*/ 2139 w 4234"/>
                <a:gd name="T29" fmla="*/ 37 h 5841"/>
                <a:gd name="T30" fmla="*/ 2312 w 4234"/>
                <a:gd name="T31" fmla="*/ 43 h 5841"/>
                <a:gd name="T32" fmla="*/ 4030 w 4234"/>
                <a:gd name="T33" fmla="*/ 1456 h 5841"/>
                <a:gd name="T34" fmla="*/ 4082 w 4234"/>
                <a:gd name="T35" fmla="*/ 1452 h 5841"/>
                <a:gd name="T36" fmla="*/ 4189 w 4234"/>
                <a:gd name="T37" fmla="*/ 1490 h 5841"/>
                <a:gd name="T38" fmla="*/ 4234 w 4234"/>
                <a:gd name="T39" fmla="*/ 1594 h 5841"/>
                <a:gd name="T40" fmla="*/ 4234 w 4234"/>
                <a:gd name="T41" fmla="*/ 5700 h 5841"/>
                <a:gd name="T42" fmla="*/ 4092 w 4234"/>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4" h="5841">
                  <a:moveTo>
                    <a:pt x="284" y="5557"/>
                  </a:moveTo>
                  <a:lnTo>
                    <a:pt x="3950" y="5557"/>
                  </a:lnTo>
                  <a:lnTo>
                    <a:pt x="3950" y="1739"/>
                  </a:lnTo>
                  <a:cubicBezTo>
                    <a:pt x="3930" y="1734"/>
                    <a:pt x="3911" y="1724"/>
                    <a:pt x="3894" y="1711"/>
                  </a:cubicBezTo>
                  <a:lnTo>
                    <a:pt x="2216" y="331"/>
                  </a:lnTo>
                  <a:lnTo>
                    <a:pt x="286" y="1715"/>
                  </a:lnTo>
                  <a:cubicBezTo>
                    <a:pt x="285" y="1715"/>
                    <a:pt x="285" y="1715"/>
                    <a:pt x="284" y="1716"/>
                  </a:cubicBezTo>
                  <a:lnTo>
                    <a:pt x="284" y="5557"/>
                  </a:lnTo>
                  <a:close/>
                  <a:moveTo>
                    <a:pt x="4092" y="5841"/>
                  </a:moveTo>
                  <a:lnTo>
                    <a:pt x="142" y="5841"/>
                  </a:lnTo>
                  <a:cubicBezTo>
                    <a:pt x="64" y="5841"/>
                    <a:pt x="0" y="5778"/>
                    <a:pt x="0" y="5700"/>
                  </a:cubicBezTo>
                  <a:lnTo>
                    <a:pt x="0" y="1599"/>
                  </a:lnTo>
                  <a:cubicBezTo>
                    <a:pt x="0" y="1521"/>
                    <a:pt x="64" y="1458"/>
                    <a:pt x="142" y="1458"/>
                  </a:cubicBezTo>
                  <a:lnTo>
                    <a:pt x="158" y="1458"/>
                  </a:lnTo>
                  <a:lnTo>
                    <a:pt x="2139" y="37"/>
                  </a:lnTo>
                  <a:cubicBezTo>
                    <a:pt x="2192" y="0"/>
                    <a:pt x="2262" y="3"/>
                    <a:pt x="2312" y="43"/>
                  </a:cubicBezTo>
                  <a:lnTo>
                    <a:pt x="4030" y="1456"/>
                  </a:lnTo>
                  <a:lnTo>
                    <a:pt x="4082" y="1452"/>
                  </a:lnTo>
                  <a:cubicBezTo>
                    <a:pt x="4121" y="1449"/>
                    <a:pt x="4160" y="1463"/>
                    <a:pt x="4189" y="1490"/>
                  </a:cubicBezTo>
                  <a:cubicBezTo>
                    <a:pt x="4217" y="1517"/>
                    <a:pt x="4234" y="1554"/>
                    <a:pt x="4234" y="1594"/>
                  </a:cubicBezTo>
                  <a:lnTo>
                    <a:pt x="4234" y="5700"/>
                  </a:lnTo>
                  <a:cubicBezTo>
                    <a:pt x="4234" y="5778"/>
                    <a:pt x="4170" y="5841"/>
                    <a:pt x="4092"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Freeform 1355">
              <a:extLst>
                <a:ext uri="{FF2B5EF4-FFF2-40B4-BE49-F238E27FC236}">
                  <a16:creationId xmlns:a16="http://schemas.microsoft.com/office/drawing/2014/main" id="{08315321-B80C-4355-8418-CE9413F8002C}"/>
                </a:ext>
              </a:extLst>
            </p:cNvPr>
            <p:cNvSpPr>
              <a:spLocks/>
            </p:cNvSpPr>
            <p:nvPr/>
          </p:nvSpPr>
          <p:spPr bwMode="auto">
            <a:xfrm>
              <a:off x="41132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356">
              <a:extLst>
                <a:ext uri="{FF2B5EF4-FFF2-40B4-BE49-F238E27FC236}">
                  <a16:creationId xmlns:a16="http://schemas.microsoft.com/office/drawing/2014/main" id="{E0BE14B4-6FEC-4AAD-9BC1-5BDEF26C946B}"/>
                </a:ext>
              </a:extLst>
            </p:cNvPr>
            <p:cNvSpPr>
              <a:spLocks/>
            </p:cNvSpPr>
            <p:nvPr/>
          </p:nvSpPr>
          <p:spPr bwMode="auto">
            <a:xfrm>
              <a:off x="3924301" y="2093913"/>
              <a:ext cx="20638" cy="57150"/>
            </a:xfrm>
            <a:custGeom>
              <a:avLst/>
              <a:gdLst>
                <a:gd name="T0" fmla="*/ 142 w 283"/>
                <a:gd name="T1" fmla="*/ 800 h 800"/>
                <a:gd name="T2" fmla="*/ 0 w 283"/>
                <a:gd name="T3" fmla="*/ 658 h 800"/>
                <a:gd name="T4" fmla="*/ 0 w 283"/>
                <a:gd name="T5" fmla="*/ 141 h 800"/>
                <a:gd name="T6" fmla="*/ 142 w 283"/>
                <a:gd name="T7" fmla="*/ 0 h 800"/>
                <a:gd name="T8" fmla="*/ 283 w 283"/>
                <a:gd name="T9" fmla="*/ 141 h 800"/>
                <a:gd name="T10" fmla="*/ 283 w 283"/>
                <a:gd name="T11" fmla="*/ 658 h 800"/>
                <a:gd name="T12" fmla="*/ 142 w 283"/>
                <a:gd name="T13" fmla="*/ 800 h 800"/>
              </a:gdLst>
              <a:ahLst/>
              <a:cxnLst>
                <a:cxn ang="0">
                  <a:pos x="T0" y="T1"/>
                </a:cxn>
                <a:cxn ang="0">
                  <a:pos x="T2" y="T3"/>
                </a:cxn>
                <a:cxn ang="0">
                  <a:pos x="T4" y="T5"/>
                </a:cxn>
                <a:cxn ang="0">
                  <a:pos x="T6" y="T7"/>
                </a:cxn>
                <a:cxn ang="0">
                  <a:pos x="T8" y="T9"/>
                </a:cxn>
                <a:cxn ang="0">
                  <a:pos x="T10" y="T11"/>
                </a:cxn>
                <a:cxn ang="0">
                  <a:pos x="T12" y="T13"/>
                </a:cxn>
              </a:cxnLst>
              <a:rect l="0" t="0" r="r" b="b"/>
              <a:pathLst>
                <a:path w="283" h="800">
                  <a:moveTo>
                    <a:pt x="142" y="800"/>
                  </a:moveTo>
                  <a:cubicBezTo>
                    <a:pt x="64" y="800"/>
                    <a:pt x="0" y="736"/>
                    <a:pt x="0" y="658"/>
                  </a:cubicBezTo>
                  <a:lnTo>
                    <a:pt x="0" y="141"/>
                  </a:lnTo>
                  <a:cubicBezTo>
                    <a:pt x="0" y="63"/>
                    <a:pt x="64" y="0"/>
                    <a:pt x="142" y="0"/>
                  </a:cubicBezTo>
                  <a:cubicBezTo>
                    <a:pt x="220" y="0"/>
                    <a:pt x="283" y="63"/>
                    <a:pt x="283" y="141"/>
                  </a:cubicBezTo>
                  <a:lnTo>
                    <a:pt x="283" y="658"/>
                  </a:lnTo>
                  <a:cubicBezTo>
                    <a:pt x="283" y="736"/>
                    <a:pt x="220" y="800"/>
                    <a:pt x="142" y="8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357">
              <a:extLst>
                <a:ext uri="{FF2B5EF4-FFF2-40B4-BE49-F238E27FC236}">
                  <a16:creationId xmlns:a16="http://schemas.microsoft.com/office/drawing/2014/main" id="{4149AA15-FFD9-4FDD-A390-51F3D8E1E390}"/>
                </a:ext>
              </a:extLst>
            </p:cNvPr>
            <p:cNvSpPr>
              <a:spLocks/>
            </p:cNvSpPr>
            <p:nvPr/>
          </p:nvSpPr>
          <p:spPr bwMode="auto">
            <a:xfrm>
              <a:off x="4267201" y="2098675"/>
              <a:ext cx="20638" cy="52388"/>
            </a:xfrm>
            <a:custGeom>
              <a:avLst/>
              <a:gdLst>
                <a:gd name="T0" fmla="*/ 142 w 283"/>
                <a:gd name="T1" fmla="*/ 734 h 734"/>
                <a:gd name="T2" fmla="*/ 0 w 283"/>
                <a:gd name="T3" fmla="*/ 592 h 734"/>
                <a:gd name="T4" fmla="*/ 0 w 283"/>
                <a:gd name="T5" fmla="*/ 142 h 734"/>
                <a:gd name="T6" fmla="*/ 142 w 283"/>
                <a:gd name="T7" fmla="*/ 0 h 734"/>
                <a:gd name="T8" fmla="*/ 283 w 283"/>
                <a:gd name="T9" fmla="*/ 142 h 734"/>
                <a:gd name="T10" fmla="*/ 283 w 283"/>
                <a:gd name="T11" fmla="*/ 592 h 734"/>
                <a:gd name="T12" fmla="*/ 142 w 283"/>
                <a:gd name="T13" fmla="*/ 734 h 734"/>
              </a:gdLst>
              <a:ahLst/>
              <a:cxnLst>
                <a:cxn ang="0">
                  <a:pos x="T0" y="T1"/>
                </a:cxn>
                <a:cxn ang="0">
                  <a:pos x="T2" y="T3"/>
                </a:cxn>
                <a:cxn ang="0">
                  <a:pos x="T4" y="T5"/>
                </a:cxn>
                <a:cxn ang="0">
                  <a:pos x="T6" y="T7"/>
                </a:cxn>
                <a:cxn ang="0">
                  <a:pos x="T8" y="T9"/>
                </a:cxn>
                <a:cxn ang="0">
                  <a:pos x="T10" y="T11"/>
                </a:cxn>
                <a:cxn ang="0">
                  <a:pos x="T12" y="T13"/>
                </a:cxn>
              </a:cxnLst>
              <a:rect l="0" t="0" r="r" b="b"/>
              <a:pathLst>
                <a:path w="283" h="734">
                  <a:moveTo>
                    <a:pt x="142" y="734"/>
                  </a:moveTo>
                  <a:cubicBezTo>
                    <a:pt x="64" y="734"/>
                    <a:pt x="0" y="670"/>
                    <a:pt x="0" y="592"/>
                  </a:cubicBezTo>
                  <a:lnTo>
                    <a:pt x="0" y="142"/>
                  </a:lnTo>
                  <a:cubicBezTo>
                    <a:pt x="0" y="64"/>
                    <a:pt x="64" y="0"/>
                    <a:pt x="142" y="0"/>
                  </a:cubicBezTo>
                  <a:cubicBezTo>
                    <a:pt x="220" y="0"/>
                    <a:pt x="283" y="64"/>
                    <a:pt x="283" y="142"/>
                  </a:cubicBezTo>
                  <a:lnTo>
                    <a:pt x="283" y="592"/>
                  </a:lnTo>
                  <a:cubicBezTo>
                    <a:pt x="283" y="670"/>
                    <a:pt x="220" y="734"/>
                    <a:pt x="142" y="7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1358">
              <a:extLst>
                <a:ext uri="{FF2B5EF4-FFF2-40B4-BE49-F238E27FC236}">
                  <a16:creationId xmlns:a16="http://schemas.microsoft.com/office/drawing/2014/main" id="{637F4751-CB69-4CE4-A997-1F121B5C238D}"/>
                </a:ext>
              </a:extLst>
            </p:cNvPr>
            <p:cNvSpPr>
              <a:spLocks/>
            </p:cNvSpPr>
            <p:nvPr/>
          </p:nvSpPr>
          <p:spPr bwMode="auto">
            <a:xfrm>
              <a:off x="3924301" y="2092325"/>
              <a:ext cx="363538" cy="20638"/>
            </a:xfrm>
            <a:custGeom>
              <a:avLst/>
              <a:gdLst>
                <a:gd name="T0" fmla="*/ 4991 w 5133"/>
                <a:gd name="T1" fmla="*/ 283 h 283"/>
                <a:gd name="T2" fmla="*/ 141 w 5133"/>
                <a:gd name="T3" fmla="*/ 283 h 283"/>
                <a:gd name="T4" fmla="*/ 0 w 5133"/>
                <a:gd name="T5" fmla="*/ 141 h 283"/>
                <a:gd name="T6" fmla="*/ 141 w 5133"/>
                <a:gd name="T7" fmla="*/ 0 h 283"/>
                <a:gd name="T8" fmla="*/ 4991 w 5133"/>
                <a:gd name="T9" fmla="*/ 0 h 283"/>
                <a:gd name="T10" fmla="*/ 5133 w 5133"/>
                <a:gd name="T11" fmla="*/ 141 h 283"/>
                <a:gd name="T12" fmla="*/ 4991 w 5133"/>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5133" h="283">
                  <a:moveTo>
                    <a:pt x="4991" y="283"/>
                  </a:moveTo>
                  <a:lnTo>
                    <a:pt x="141" y="283"/>
                  </a:lnTo>
                  <a:cubicBezTo>
                    <a:pt x="63" y="283"/>
                    <a:pt x="0" y="220"/>
                    <a:pt x="0" y="141"/>
                  </a:cubicBezTo>
                  <a:cubicBezTo>
                    <a:pt x="0" y="63"/>
                    <a:pt x="63" y="0"/>
                    <a:pt x="141" y="0"/>
                  </a:cubicBezTo>
                  <a:lnTo>
                    <a:pt x="4991" y="0"/>
                  </a:lnTo>
                  <a:cubicBezTo>
                    <a:pt x="5070" y="0"/>
                    <a:pt x="5133" y="63"/>
                    <a:pt x="5133" y="141"/>
                  </a:cubicBezTo>
                  <a:cubicBezTo>
                    <a:pt x="5133" y="220"/>
                    <a:pt x="5070" y="283"/>
                    <a:pt x="4991"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1359">
              <a:extLst>
                <a:ext uri="{FF2B5EF4-FFF2-40B4-BE49-F238E27FC236}">
                  <a16:creationId xmlns:a16="http://schemas.microsoft.com/office/drawing/2014/main" id="{AE269DB1-A293-4245-8F03-A6255ACB00E6}"/>
                </a:ext>
              </a:extLst>
            </p:cNvPr>
            <p:cNvSpPr>
              <a:spLocks/>
            </p:cNvSpPr>
            <p:nvPr/>
          </p:nvSpPr>
          <p:spPr bwMode="auto">
            <a:xfrm>
              <a:off x="3829051"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1360">
              <a:extLst>
                <a:ext uri="{FF2B5EF4-FFF2-40B4-BE49-F238E27FC236}">
                  <a16:creationId xmlns:a16="http://schemas.microsoft.com/office/drawing/2014/main" id="{032B9333-A9D6-4BB2-A09B-19AF2E7AED6F}"/>
                </a:ext>
              </a:extLst>
            </p:cNvPr>
            <p:cNvSpPr>
              <a:spLocks/>
            </p:cNvSpPr>
            <p:nvPr/>
          </p:nvSpPr>
          <p:spPr bwMode="auto">
            <a:xfrm>
              <a:off x="3884613"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1361">
              <a:extLst>
                <a:ext uri="{FF2B5EF4-FFF2-40B4-BE49-F238E27FC236}">
                  <a16:creationId xmlns:a16="http://schemas.microsoft.com/office/drawing/2014/main" id="{391D2499-66CC-4D60-91CC-DC5CDFA67FC6}"/>
                </a:ext>
              </a:extLst>
            </p:cNvPr>
            <p:cNvSpPr>
              <a:spLocks/>
            </p:cNvSpPr>
            <p:nvPr/>
          </p:nvSpPr>
          <p:spPr bwMode="auto">
            <a:xfrm>
              <a:off x="3937001"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1362">
              <a:extLst>
                <a:ext uri="{FF2B5EF4-FFF2-40B4-BE49-F238E27FC236}">
                  <a16:creationId xmlns:a16="http://schemas.microsoft.com/office/drawing/2014/main" id="{183E958D-25DE-4F4F-A7F4-ED850DF3C0F5}"/>
                </a:ext>
              </a:extLst>
            </p:cNvPr>
            <p:cNvSpPr>
              <a:spLocks/>
            </p:cNvSpPr>
            <p:nvPr/>
          </p:nvSpPr>
          <p:spPr bwMode="auto">
            <a:xfrm>
              <a:off x="3997326"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1363">
              <a:extLst>
                <a:ext uri="{FF2B5EF4-FFF2-40B4-BE49-F238E27FC236}">
                  <a16:creationId xmlns:a16="http://schemas.microsoft.com/office/drawing/2014/main" id="{404B78AB-3539-418A-9FFE-15CE5DC64092}"/>
                </a:ext>
              </a:extLst>
            </p:cNvPr>
            <p:cNvSpPr>
              <a:spLocks/>
            </p:cNvSpPr>
            <p:nvPr/>
          </p:nvSpPr>
          <p:spPr bwMode="auto">
            <a:xfrm>
              <a:off x="4178301"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1364">
              <a:extLst>
                <a:ext uri="{FF2B5EF4-FFF2-40B4-BE49-F238E27FC236}">
                  <a16:creationId xmlns:a16="http://schemas.microsoft.com/office/drawing/2014/main" id="{81E71CAD-4C6A-4596-BE5E-739368F1DC06}"/>
                </a:ext>
              </a:extLst>
            </p:cNvPr>
            <p:cNvSpPr>
              <a:spLocks/>
            </p:cNvSpPr>
            <p:nvPr/>
          </p:nvSpPr>
          <p:spPr bwMode="auto">
            <a:xfrm>
              <a:off x="4233863"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1365">
              <a:extLst>
                <a:ext uri="{FF2B5EF4-FFF2-40B4-BE49-F238E27FC236}">
                  <a16:creationId xmlns:a16="http://schemas.microsoft.com/office/drawing/2014/main" id="{7D16E6BC-1D14-492F-86C1-D9FA8E63793F}"/>
                </a:ext>
              </a:extLst>
            </p:cNvPr>
            <p:cNvSpPr>
              <a:spLocks/>
            </p:cNvSpPr>
            <p:nvPr/>
          </p:nvSpPr>
          <p:spPr bwMode="auto">
            <a:xfrm>
              <a:off x="4286251" y="2293938"/>
              <a:ext cx="19050"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1366">
              <a:extLst>
                <a:ext uri="{FF2B5EF4-FFF2-40B4-BE49-F238E27FC236}">
                  <a16:creationId xmlns:a16="http://schemas.microsoft.com/office/drawing/2014/main" id="{9A1AD19F-054A-4494-AAA0-2811C7F1E5B1}"/>
                </a:ext>
              </a:extLst>
            </p:cNvPr>
            <p:cNvSpPr>
              <a:spLocks/>
            </p:cNvSpPr>
            <p:nvPr/>
          </p:nvSpPr>
          <p:spPr bwMode="auto">
            <a:xfrm>
              <a:off x="4344988"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5" name="TextBox 64">
            <a:extLst>
              <a:ext uri="{FF2B5EF4-FFF2-40B4-BE49-F238E27FC236}">
                <a16:creationId xmlns:a16="http://schemas.microsoft.com/office/drawing/2014/main" id="{9E4A0CCC-ED4F-4D68-BF95-E7547CE9C5DA}"/>
              </a:ext>
            </a:extLst>
          </p:cNvPr>
          <p:cNvSpPr txBox="1"/>
          <p:nvPr/>
        </p:nvSpPr>
        <p:spPr>
          <a:xfrm>
            <a:off x="4823260" y="4469540"/>
            <a:ext cx="2545480" cy="523220"/>
          </a:xfrm>
          <a:prstGeom prst="rect">
            <a:avLst/>
          </a:prstGeom>
          <a:noFill/>
        </p:spPr>
        <p:txBody>
          <a:bodyPr wrap="square" rtlCol="0">
            <a:spAutoFit/>
          </a:bodyPr>
          <a:lstStyle/>
          <a:p>
            <a:pPr algn="ctr"/>
            <a:r>
              <a:rPr lang="en-SG" sz="2800" dirty="0">
                <a:solidFill>
                  <a:schemeClr val="tx1">
                    <a:lumMod val="50000"/>
                    <a:lumOff val="50000"/>
                  </a:schemeClr>
                </a:solidFill>
                <a:latin typeface="Quicksand Book" panose="02070303000000060000" pitchFamily="18" charset="0"/>
              </a:rPr>
              <a:t>HOMEBO</a:t>
            </a:r>
          </a:p>
        </p:txBody>
      </p:sp>
      <p:grpSp>
        <p:nvGrpSpPr>
          <p:cNvPr id="49" name="Silos" descr="{&quot;Key&quot;:&quot;POWER_USER_SHAPE_ICON&quot;,&quot;Value&quot;:&quot;POWER_USER_SHAPE_ICON_STYLE_1&quot;}">
            <a:extLst>
              <a:ext uri="{FF2B5EF4-FFF2-40B4-BE49-F238E27FC236}">
                <a16:creationId xmlns:a16="http://schemas.microsoft.com/office/drawing/2014/main" id="{F18A6C68-C7EE-4E12-92FB-4A36A811E264}"/>
              </a:ext>
            </a:extLst>
          </p:cNvPr>
          <p:cNvGrpSpPr>
            <a:grpSpLocks noChangeAspect="1"/>
          </p:cNvGrpSpPr>
          <p:nvPr>
            <p:custDataLst>
              <p:tags r:id="rId3"/>
            </p:custDataLst>
          </p:nvPr>
        </p:nvGrpSpPr>
        <p:grpSpPr>
          <a:xfrm>
            <a:off x="8257591" y="2494835"/>
            <a:ext cx="2680440" cy="1845232"/>
            <a:chOff x="3770313" y="2092325"/>
            <a:chExt cx="657225" cy="452438"/>
          </a:xfrm>
          <a:solidFill>
            <a:schemeClr val="tx1">
              <a:lumMod val="65000"/>
              <a:lumOff val="35000"/>
            </a:schemeClr>
          </a:solidFill>
        </p:grpSpPr>
        <p:sp>
          <p:nvSpPr>
            <p:cNvPr id="50" name="Freeform 1352">
              <a:extLst>
                <a:ext uri="{FF2B5EF4-FFF2-40B4-BE49-F238E27FC236}">
                  <a16:creationId xmlns:a16="http://schemas.microsoft.com/office/drawing/2014/main" id="{1FDBE6F8-35F6-45CD-976C-7C851808B8CC}"/>
                </a:ext>
              </a:extLst>
            </p:cNvPr>
            <p:cNvSpPr>
              <a:spLocks noEditPoints="1"/>
            </p:cNvSpPr>
            <p:nvPr/>
          </p:nvSpPr>
          <p:spPr bwMode="auto">
            <a:xfrm>
              <a:off x="3778251" y="2130425"/>
              <a:ext cx="298450" cy="414338"/>
            </a:xfrm>
            <a:custGeom>
              <a:avLst/>
              <a:gdLst>
                <a:gd name="T0" fmla="*/ 283 w 4233"/>
                <a:gd name="T1" fmla="*/ 5558 h 5841"/>
                <a:gd name="T2" fmla="*/ 3950 w 4233"/>
                <a:gd name="T3" fmla="*/ 5558 h 5841"/>
                <a:gd name="T4" fmla="*/ 3950 w 4233"/>
                <a:gd name="T5" fmla="*/ 1738 h 5841"/>
                <a:gd name="T6" fmla="*/ 3897 w 4233"/>
                <a:gd name="T7" fmla="*/ 1711 h 5841"/>
                <a:gd name="T8" fmla="*/ 2223 w 4233"/>
                <a:gd name="T9" fmla="*/ 331 h 5841"/>
                <a:gd name="T10" fmla="*/ 293 w 4233"/>
                <a:gd name="T11" fmla="*/ 1714 h 5841"/>
                <a:gd name="T12" fmla="*/ 283 w 4233"/>
                <a:gd name="T13" fmla="*/ 1721 h 5841"/>
                <a:gd name="T14" fmla="*/ 283 w 4233"/>
                <a:gd name="T15" fmla="*/ 5558 h 5841"/>
                <a:gd name="T16" fmla="*/ 4091 w 4233"/>
                <a:gd name="T17" fmla="*/ 5841 h 5841"/>
                <a:gd name="T18" fmla="*/ 141 w 4233"/>
                <a:gd name="T19" fmla="*/ 5841 h 5841"/>
                <a:gd name="T20" fmla="*/ 0 w 4233"/>
                <a:gd name="T21" fmla="*/ 5699 h 5841"/>
                <a:gd name="T22" fmla="*/ 0 w 4233"/>
                <a:gd name="T23" fmla="*/ 1599 h 5841"/>
                <a:gd name="T24" fmla="*/ 141 w 4233"/>
                <a:gd name="T25" fmla="*/ 1457 h 5841"/>
                <a:gd name="T26" fmla="*/ 165 w 4233"/>
                <a:gd name="T27" fmla="*/ 1457 h 5841"/>
                <a:gd name="T28" fmla="*/ 2146 w 4233"/>
                <a:gd name="T29" fmla="*/ 38 h 5841"/>
                <a:gd name="T30" fmla="*/ 2319 w 4233"/>
                <a:gd name="T31" fmla="*/ 43 h 5841"/>
                <a:gd name="T32" fmla="*/ 4033 w 4233"/>
                <a:gd name="T33" fmla="*/ 1456 h 5841"/>
                <a:gd name="T34" fmla="*/ 4081 w 4233"/>
                <a:gd name="T35" fmla="*/ 1452 h 5841"/>
                <a:gd name="T36" fmla="*/ 4188 w 4233"/>
                <a:gd name="T37" fmla="*/ 1489 h 5841"/>
                <a:gd name="T38" fmla="*/ 4233 w 4233"/>
                <a:gd name="T39" fmla="*/ 1593 h 5841"/>
                <a:gd name="T40" fmla="*/ 4233 w 4233"/>
                <a:gd name="T41" fmla="*/ 5699 h 5841"/>
                <a:gd name="T42" fmla="*/ 4091 w 4233"/>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3" h="5841">
                  <a:moveTo>
                    <a:pt x="283" y="5558"/>
                  </a:moveTo>
                  <a:lnTo>
                    <a:pt x="3950" y="5558"/>
                  </a:lnTo>
                  <a:lnTo>
                    <a:pt x="3950" y="1738"/>
                  </a:lnTo>
                  <a:cubicBezTo>
                    <a:pt x="3931" y="1732"/>
                    <a:pt x="3913" y="1723"/>
                    <a:pt x="3897" y="1711"/>
                  </a:cubicBezTo>
                  <a:lnTo>
                    <a:pt x="2223" y="331"/>
                  </a:lnTo>
                  <a:lnTo>
                    <a:pt x="293" y="1714"/>
                  </a:lnTo>
                  <a:cubicBezTo>
                    <a:pt x="290" y="1716"/>
                    <a:pt x="286" y="1719"/>
                    <a:pt x="283" y="1721"/>
                  </a:cubicBezTo>
                  <a:lnTo>
                    <a:pt x="283" y="5558"/>
                  </a:lnTo>
                  <a:close/>
                  <a:moveTo>
                    <a:pt x="4091" y="5841"/>
                  </a:moveTo>
                  <a:lnTo>
                    <a:pt x="141" y="5841"/>
                  </a:lnTo>
                  <a:cubicBezTo>
                    <a:pt x="63" y="5841"/>
                    <a:pt x="0" y="5777"/>
                    <a:pt x="0" y="5699"/>
                  </a:cubicBezTo>
                  <a:lnTo>
                    <a:pt x="0" y="1599"/>
                  </a:lnTo>
                  <a:cubicBezTo>
                    <a:pt x="0" y="1521"/>
                    <a:pt x="63" y="1457"/>
                    <a:pt x="141" y="1457"/>
                  </a:cubicBezTo>
                  <a:lnTo>
                    <a:pt x="165" y="1457"/>
                  </a:lnTo>
                  <a:lnTo>
                    <a:pt x="2146" y="38"/>
                  </a:lnTo>
                  <a:cubicBezTo>
                    <a:pt x="2198" y="0"/>
                    <a:pt x="2269" y="2"/>
                    <a:pt x="2319" y="43"/>
                  </a:cubicBezTo>
                  <a:lnTo>
                    <a:pt x="4033" y="1456"/>
                  </a:lnTo>
                  <a:lnTo>
                    <a:pt x="4081" y="1452"/>
                  </a:lnTo>
                  <a:cubicBezTo>
                    <a:pt x="4120" y="1449"/>
                    <a:pt x="4159" y="1463"/>
                    <a:pt x="4188" y="1489"/>
                  </a:cubicBezTo>
                  <a:cubicBezTo>
                    <a:pt x="4217" y="1516"/>
                    <a:pt x="4233" y="1554"/>
                    <a:pt x="4233" y="1593"/>
                  </a:cubicBezTo>
                  <a:lnTo>
                    <a:pt x="4233" y="5699"/>
                  </a:lnTo>
                  <a:cubicBezTo>
                    <a:pt x="4233" y="5777"/>
                    <a:pt x="4170" y="5841"/>
                    <a:pt x="4091"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1353">
              <a:extLst>
                <a:ext uri="{FF2B5EF4-FFF2-40B4-BE49-F238E27FC236}">
                  <a16:creationId xmlns:a16="http://schemas.microsoft.com/office/drawing/2014/main" id="{A24F054B-48B6-45E0-B1DB-5AC5ACC9ABCB}"/>
                </a:ext>
              </a:extLst>
            </p:cNvPr>
            <p:cNvSpPr>
              <a:spLocks/>
            </p:cNvSpPr>
            <p:nvPr/>
          </p:nvSpPr>
          <p:spPr bwMode="auto">
            <a:xfrm>
              <a:off x="37703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1354">
              <a:extLst>
                <a:ext uri="{FF2B5EF4-FFF2-40B4-BE49-F238E27FC236}">
                  <a16:creationId xmlns:a16="http://schemas.microsoft.com/office/drawing/2014/main" id="{C4A50BBF-EF53-4685-9A46-D05B13B59CB0}"/>
                </a:ext>
              </a:extLst>
            </p:cNvPr>
            <p:cNvSpPr>
              <a:spLocks noEditPoints="1"/>
            </p:cNvSpPr>
            <p:nvPr/>
          </p:nvSpPr>
          <p:spPr bwMode="auto">
            <a:xfrm>
              <a:off x="4121151" y="2130425"/>
              <a:ext cx="300038" cy="414338"/>
            </a:xfrm>
            <a:custGeom>
              <a:avLst/>
              <a:gdLst>
                <a:gd name="T0" fmla="*/ 284 w 4234"/>
                <a:gd name="T1" fmla="*/ 5557 h 5841"/>
                <a:gd name="T2" fmla="*/ 3950 w 4234"/>
                <a:gd name="T3" fmla="*/ 5557 h 5841"/>
                <a:gd name="T4" fmla="*/ 3950 w 4234"/>
                <a:gd name="T5" fmla="*/ 1739 h 5841"/>
                <a:gd name="T6" fmla="*/ 3894 w 4234"/>
                <a:gd name="T7" fmla="*/ 1711 h 5841"/>
                <a:gd name="T8" fmla="*/ 2216 w 4234"/>
                <a:gd name="T9" fmla="*/ 331 h 5841"/>
                <a:gd name="T10" fmla="*/ 286 w 4234"/>
                <a:gd name="T11" fmla="*/ 1715 h 5841"/>
                <a:gd name="T12" fmla="*/ 284 w 4234"/>
                <a:gd name="T13" fmla="*/ 1716 h 5841"/>
                <a:gd name="T14" fmla="*/ 284 w 4234"/>
                <a:gd name="T15" fmla="*/ 5557 h 5841"/>
                <a:gd name="T16" fmla="*/ 4092 w 4234"/>
                <a:gd name="T17" fmla="*/ 5841 h 5841"/>
                <a:gd name="T18" fmla="*/ 142 w 4234"/>
                <a:gd name="T19" fmla="*/ 5841 h 5841"/>
                <a:gd name="T20" fmla="*/ 0 w 4234"/>
                <a:gd name="T21" fmla="*/ 5700 h 5841"/>
                <a:gd name="T22" fmla="*/ 0 w 4234"/>
                <a:gd name="T23" fmla="*/ 1599 h 5841"/>
                <a:gd name="T24" fmla="*/ 142 w 4234"/>
                <a:gd name="T25" fmla="*/ 1458 h 5841"/>
                <a:gd name="T26" fmla="*/ 158 w 4234"/>
                <a:gd name="T27" fmla="*/ 1458 h 5841"/>
                <a:gd name="T28" fmla="*/ 2139 w 4234"/>
                <a:gd name="T29" fmla="*/ 37 h 5841"/>
                <a:gd name="T30" fmla="*/ 2312 w 4234"/>
                <a:gd name="T31" fmla="*/ 43 h 5841"/>
                <a:gd name="T32" fmla="*/ 4030 w 4234"/>
                <a:gd name="T33" fmla="*/ 1456 h 5841"/>
                <a:gd name="T34" fmla="*/ 4082 w 4234"/>
                <a:gd name="T35" fmla="*/ 1452 h 5841"/>
                <a:gd name="T36" fmla="*/ 4189 w 4234"/>
                <a:gd name="T37" fmla="*/ 1490 h 5841"/>
                <a:gd name="T38" fmla="*/ 4234 w 4234"/>
                <a:gd name="T39" fmla="*/ 1594 h 5841"/>
                <a:gd name="T40" fmla="*/ 4234 w 4234"/>
                <a:gd name="T41" fmla="*/ 5700 h 5841"/>
                <a:gd name="T42" fmla="*/ 4092 w 4234"/>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4" h="5841">
                  <a:moveTo>
                    <a:pt x="284" y="5557"/>
                  </a:moveTo>
                  <a:lnTo>
                    <a:pt x="3950" y="5557"/>
                  </a:lnTo>
                  <a:lnTo>
                    <a:pt x="3950" y="1739"/>
                  </a:lnTo>
                  <a:cubicBezTo>
                    <a:pt x="3930" y="1734"/>
                    <a:pt x="3911" y="1724"/>
                    <a:pt x="3894" y="1711"/>
                  </a:cubicBezTo>
                  <a:lnTo>
                    <a:pt x="2216" y="331"/>
                  </a:lnTo>
                  <a:lnTo>
                    <a:pt x="286" y="1715"/>
                  </a:lnTo>
                  <a:cubicBezTo>
                    <a:pt x="285" y="1715"/>
                    <a:pt x="285" y="1715"/>
                    <a:pt x="284" y="1716"/>
                  </a:cubicBezTo>
                  <a:lnTo>
                    <a:pt x="284" y="5557"/>
                  </a:lnTo>
                  <a:close/>
                  <a:moveTo>
                    <a:pt x="4092" y="5841"/>
                  </a:moveTo>
                  <a:lnTo>
                    <a:pt x="142" y="5841"/>
                  </a:lnTo>
                  <a:cubicBezTo>
                    <a:pt x="64" y="5841"/>
                    <a:pt x="0" y="5778"/>
                    <a:pt x="0" y="5700"/>
                  </a:cubicBezTo>
                  <a:lnTo>
                    <a:pt x="0" y="1599"/>
                  </a:lnTo>
                  <a:cubicBezTo>
                    <a:pt x="0" y="1521"/>
                    <a:pt x="64" y="1458"/>
                    <a:pt x="142" y="1458"/>
                  </a:cubicBezTo>
                  <a:lnTo>
                    <a:pt x="158" y="1458"/>
                  </a:lnTo>
                  <a:lnTo>
                    <a:pt x="2139" y="37"/>
                  </a:lnTo>
                  <a:cubicBezTo>
                    <a:pt x="2192" y="0"/>
                    <a:pt x="2262" y="3"/>
                    <a:pt x="2312" y="43"/>
                  </a:cubicBezTo>
                  <a:lnTo>
                    <a:pt x="4030" y="1456"/>
                  </a:lnTo>
                  <a:lnTo>
                    <a:pt x="4082" y="1452"/>
                  </a:lnTo>
                  <a:cubicBezTo>
                    <a:pt x="4121" y="1449"/>
                    <a:pt x="4160" y="1463"/>
                    <a:pt x="4189" y="1490"/>
                  </a:cubicBezTo>
                  <a:cubicBezTo>
                    <a:pt x="4217" y="1517"/>
                    <a:pt x="4234" y="1554"/>
                    <a:pt x="4234" y="1594"/>
                  </a:cubicBezTo>
                  <a:lnTo>
                    <a:pt x="4234" y="5700"/>
                  </a:lnTo>
                  <a:cubicBezTo>
                    <a:pt x="4234" y="5778"/>
                    <a:pt x="4170" y="5841"/>
                    <a:pt x="4092"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1355">
              <a:extLst>
                <a:ext uri="{FF2B5EF4-FFF2-40B4-BE49-F238E27FC236}">
                  <a16:creationId xmlns:a16="http://schemas.microsoft.com/office/drawing/2014/main" id="{38B2F223-7788-4680-A403-CB3BA788FD79}"/>
                </a:ext>
              </a:extLst>
            </p:cNvPr>
            <p:cNvSpPr>
              <a:spLocks/>
            </p:cNvSpPr>
            <p:nvPr/>
          </p:nvSpPr>
          <p:spPr bwMode="auto">
            <a:xfrm>
              <a:off x="41132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1356">
              <a:extLst>
                <a:ext uri="{FF2B5EF4-FFF2-40B4-BE49-F238E27FC236}">
                  <a16:creationId xmlns:a16="http://schemas.microsoft.com/office/drawing/2014/main" id="{51F97F9C-BC31-49C6-8E5F-F3C74296C710}"/>
                </a:ext>
              </a:extLst>
            </p:cNvPr>
            <p:cNvSpPr>
              <a:spLocks/>
            </p:cNvSpPr>
            <p:nvPr/>
          </p:nvSpPr>
          <p:spPr bwMode="auto">
            <a:xfrm>
              <a:off x="3924301" y="2093913"/>
              <a:ext cx="20638" cy="57150"/>
            </a:xfrm>
            <a:custGeom>
              <a:avLst/>
              <a:gdLst>
                <a:gd name="T0" fmla="*/ 142 w 283"/>
                <a:gd name="T1" fmla="*/ 800 h 800"/>
                <a:gd name="T2" fmla="*/ 0 w 283"/>
                <a:gd name="T3" fmla="*/ 658 h 800"/>
                <a:gd name="T4" fmla="*/ 0 w 283"/>
                <a:gd name="T5" fmla="*/ 141 h 800"/>
                <a:gd name="T6" fmla="*/ 142 w 283"/>
                <a:gd name="T7" fmla="*/ 0 h 800"/>
                <a:gd name="T8" fmla="*/ 283 w 283"/>
                <a:gd name="T9" fmla="*/ 141 h 800"/>
                <a:gd name="T10" fmla="*/ 283 w 283"/>
                <a:gd name="T11" fmla="*/ 658 h 800"/>
                <a:gd name="T12" fmla="*/ 142 w 283"/>
                <a:gd name="T13" fmla="*/ 800 h 800"/>
              </a:gdLst>
              <a:ahLst/>
              <a:cxnLst>
                <a:cxn ang="0">
                  <a:pos x="T0" y="T1"/>
                </a:cxn>
                <a:cxn ang="0">
                  <a:pos x="T2" y="T3"/>
                </a:cxn>
                <a:cxn ang="0">
                  <a:pos x="T4" y="T5"/>
                </a:cxn>
                <a:cxn ang="0">
                  <a:pos x="T6" y="T7"/>
                </a:cxn>
                <a:cxn ang="0">
                  <a:pos x="T8" y="T9"/>
                </a:cxn>
                <a:cxn ang="0">
                  <a:pos x="T10" y="T11"/>
                </a:cxn>
                <a:cxn ang="0">
                  <a:pos x="T12" y="T13"/>
                </a:cxn>
              </a:cxnLst>
              <a:rect l="0" t="0" r="r" b="b"/>
              <a:pathLst>
                <a:path w="283" h="800">
                  <a:moveTo>
                    <a:pt x="142" y="800"/>
                  </a:moveTo>
                  <a:cubicBezTo>
                    <a:pt x="64" y="800"/>
                    <a:pt x="0" y="736"/>
                    <a:pt x="0" y="658"/>
                  </a:cubicBezTo>
                  <a:lnTo>
                    <a:pt x="0" y="141"/>
                  </a:lnTo>
                  <a:cubicBezTo>
                    <a:pt x="0" y="63"/>
                    <a:pt x="64" y="0"/>
                    <a:pt x="142" y="0"/>
                  </a:cubicBezTo>
                  <a:cubicBezTo>
                    <a:pt x="220" y="0"/>
                    <a:pt x="283" y="63"/>
                    <a:pt x="283" y="141"/>
                  </a:cubicBezTo>
                  <a:lnTo>
                    <a:pt x="283" y="658"/>
                  </a:lnTo>
                  <a:cubicBezTo>
                    <a:pt x="283" y="736"/>
                    <a:pt x="220" y="800"/>
                    <a:pt x="142" y="8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1357">
              <a:extLst>
                <a:ext uri="{FF2B5EF4-FFF2-40B4-BE49-F238E27FC236}">
                  <a16:creationId xmlns:a16="http://schemas.microsoft.com/office/drawing/2014/main" id="{24A25296-5CA7-4996-BBFE-2DAD25A99BD6}"/>
                </a:ext>
              </a:extLst>
            </p:cNvPr>
            <p:cNvSpPr>
              <a:spLocks/>
            </p:cNvSpPr>
            <p:nvPr/>
          </p:nvSpPr>
          <p:spPr bwMode="auto">
            <a:xfrm>
              <a:off x="4267201" y="2098675"/>
              <a:ext cx="20638" cy="52388"/>
            </a:xfrm>
            <a:custGeom>
              <a:avLst/>
              <a:gdLst>
                <a:gd name="T0" fmla="*/ 142 w 283"/>
                <a:gd name="T1" fmla="*/ 734 h 734"/>
                <a:gd name="T2" fmla="*/ 0 w 283"/>
                <a:gd name="T3" fmla="*/ 592 h 734"/>
                <a:gd name="T4" fmla="*/ 0 w 283"/>
                <a:gd name="T5" fmla="*/ 142 h 734"/>
                <a:gd name="T6" fmla="*/ 142 w 283"/>
                <a:gd name="T7" fmla="*/ 0 h 734"/>
                <a:gd name="T8" fmla="*/ 283 w 283"/>
                <a:gd name="T9" fmla="*/ 142 h 734"/>
                <a:gd name="T10" fmla="*/ 283 w 283"/>
                <a:gd name="T11" fmla="*/ 592 h 734"/>
                <a:gd name="T12" fmla="*/ 142 w 283"/>
                <a:gd name="T13" fmla="*/ 734 h 734"/>
              </a:gdLst>
              <a:ahLst/>
              <a:cxnLst>
                <a:cxn ang="0">
                  <a:pos x="T0" y="T1"/>
                </a:cxn>
                <a:cxn ang="0">
                  <a:pos x="T2" y="T3"/>
                </a:cxn>
                <a:cxn ang="0">
                  <a:pos x="T4" y="T5"/>
                </a:cxn>
                <a:cxn ang="0">
                  <a:pos x="T6" y="T7"/>
                </a:cxn>
                <a:cxn ang="0">
                  <a:pos x="T8" y="T9"/>
                </a:cxn>
                <a:cxn ang="0">
                  <a:pos x="T10" y="T11"/>
                </a:cxn>
                <a:cxn ang="0">
                  <a:pos x="T12" y="T13"/>
                </a:cxn>
              </a:cxnLst>
              <a:rect l="0" t="0" r="r" b="b"/>
              <a:pathLst>
                <a:path w="283" h="734">
                  <a:moveTo>
                    <a:pt x="142" y="734"/>
                  </a:moveTo>
                  <a:cubicBezTo>
                    <a:pt x="64" y="734"/>
                    <a:pt x="0" y="670"/>
                    <a:pt x="0" y="592"/>
                  </a:cubicBezTo>
                  <a:lnTo>
                    <a:pt x="0" y="142"/>
                  </a:lnTo>
                  <a:cubicBezTo>
                    <a:pt x="0" y="64"/>
                    <a:pt x="64" y="0"/>
                    <a:pt x="142" y="0"/>
                  </a:cubicBezTo>
                  <a:cubicBezTo>
                    <a:pt x="220" y="0"/>
                    <a:pt x="283" y="64"/>
                    <a:pt x="283" y="142"/>
                  </a:cubicBezTo>
                  <a:lnTo>
                    <a:pt x="283" y="592"/>
                  </a:lnTo>
                  <a:cubicBezTo>
                    <a:pt x="283" y="670"/>
                    <a:pt x="220" y="734"/>
                    <a:pt x="142" y="7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1358">
              <a:extLst>
                <a:ext uri="{FF2B5EF4-FFF2-40B4-BE49-F238E27FC236}">
                  <a16:creationId xmlns:a16="http://schemas.microsoft.com/office/drawing/2014/main" id="{0F6E1A2B-F8D1-41E4-AB55-9E1FA8DA5A46}"/>
                </a:ext>
              </a:extLst>
            </p:cNvPr>
            <p:cNvSpPr>
              <a:spLocks/>
            </p:cNvSpPr>
            <p:nvPr/>
          </p:nvSpPr>
          <p:spPr bwMode="auto">
            <a:xfrm>
              <a:off x="3924301" y="2092325"/>
              <a:ext cx="363538" cy="20638"/>
            </a:xfrm>
            <a:custGeom>
              <a:avLst/>
              <a:gdLst>
                <a:gd name="T0" fmla="*/ 4991 w 5133"/>
                <a:gd name="T1" fmla="*/ 283 h 283"/>
                <a:gd name="T2" fmla="*/ 141 w 5133"/>
                <a:gd name="T3" fmla="*/ 283 h 283"/>
                <a:gd name="T4" fmla="*/ 0 w 5133"/>
                <a:gd name="T5" fmla="*/ 141 h 283"/>
                <a:gd name="T6" fmla="*/ 141 w 5133"/>
                <a:gd name="T7" fmla="*/ 0 h 283"/>
                <a:gd name="T8" fmla="*/ 4991 w 5133"/>
                <a:gd name="T9" fmla="*/ 0 h 283"/>
                <a:gd name="T10" fmla="*/ 5133 w 5133"/>
                <a:gd name="T11" fmla="*/ 141 h 283"/>
                <a:gd name="T12" fmla="*/ 4991 w 5133"/>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5133" h="283">
                  <a:moveTo>
                    <a:pt x="4991" y="283"/>
                  </a:moveTo>
                  <a:lnTo>
                    <a:pt x="141" y="283"/>
                  </a:lnTo>
                  <a:cubicBezTo>
                    <a:pt x="63" y="283"/>
                    <a:pt x="0" y="220"/>
                    <a:pt x="0" y="141"/>
                  </a:cubicBezTo>
                  <a:cubicBezTo>
                    <a:pt x="0" y="63"/>
                    <a:pt x="63" y="0"/>
                    <a:pt x="141" y="0"/>
                  </a:cubicBezTo>
                  <a:lnTo>
                    <a:pt x="4991" y="0"/>
                  </a:lnTo>
                  <a:cubicBezTo>
                    <a:pt x="5070" y="0"/>
                    <a:pt x="5133" y="63"/>
                    <a:pt x="5133" y="141"/>
                  </a:cubicBezTo>
                  <a:cubicBezTo>
                    <a:pt x="5133" y="220"/>
                    <a:pt x="5070" y="283"/>
                    <a:pt x="4991"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1359">
              <a:extLst>
                <a:ext uri="{FF2B5EF4-FFF2-40B4-BE49-F238E27FC236}">
                  <a16:creationId xmlns:a16="http://schemas.microsoft.com/office/drawing/2014/main" id="{DCFA196D-49E0-4FAD-8822-F5D3B7919994}"/>
                </a:ext>
              </a:extLst>
            </p:cNvPr>
            <p:cNvSpPr>
              <a:spLocks/>
            </p:cNvSpPr>
            <p:nvPr/>
          </p:nvSpPr>
          <p:spPr bwMode="auto">
            <a:xfrm>
              <a:off x="3829051"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1360">
              <a:extLst>
                <a:ext uri="{FF2B5EF4-FFF2-40B4-BE49-F238E27FC236}">
                  <a16:creationId xmlns:a16="http://schemas.microsoft.com/office/drawing/2014/main" id="{6C7A4AE4-A355-4B1F-9361-9844AA10AD72}"/>
                </a:ext>
              </a:extLst>
            </p:cNvPr>
            <p:cNvSpPr>
              <a:spLocks/>
            </p:cNvSpPr>
            <p:nvPr/>
          </p:nvSpPr>
          <p:spPr bwMode="auto">
            <a:xfrm>
              <a:off x="3884613"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1361">
              <a:extLst>
                <a:ext uri="{FF2B5EF4-FFF2-40B4-BE49-F238E27FC236}">
                  <a16:creationId xmlns:a16="http://schemas.microsoft.com/office/drawing/2014/main" id="{9D0E65DC-F277-4D72-95BA-2DB68160E5AD}"/>
                </a:ext>
              </a:extLst>
            </p:cNvPr>
            <p:cNvSpPr>
              <a:spLocks/>
            </p:cNvSpPr>
            <p:nvPr/>
          </p:nvSpPr>
          <p:spPr bwMode="auto">
            <a:xfrm>
              <a:off x="3937001"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362">
              <a:extLst>
                <a:ext uri="{FF2B5EF4-FFF2-40B4-BE49-F238E27FC236}">
                  <a16:creationId xmlns:a16="http://schemas.microsoft.com/office/drawing/2014/main" id="{6A15DBD5-F0FC-4A16-A750-8D1C47149F99}"/>
                </a:ext>
              </a:extLst>
            </p:cNvPr>
            <p:cNvSpPr>
              <a:spLocks/>
            </p:cNvSpPr>
            <p:nvPr/>
          </p:nvSpPr>
          <p:spPr bwMode="auto">
            <a:xfrm>
              <a:off x="3997326"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1363">
              <a:extLst>
                <a:ext uri="{FF2B5EF4-FFF2-40B4-BE49-F238E27FC236}">
                  <a16:creationId xmlns:a16="http://schemas.microsoft.com/office/drawing/2014/main" id="{CDCC7593-23F0-4BD1-B0C0-5BD775488D77}"/>
                </a:ext>
              </a:extLst>
            </p:cNvPr>
            <p:cNvSpPr>
              <a:spLocks/>
            </p:cNvSpPr>
            <p:nvPr/>
          </p:nvSpPr>
          <p:spPr bwMode="auto">
            <a:xfrm>
              <a:off x="4178301"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1364">
              <a:extLst>
                <a:ext uri="{FF2B5EF4-FFF2-40B4-BE49-F238E27FC236}">
                  <a16:creationId xmlns:a16="http://schemas.microsoft.com/office/drawing/2014/main" id="{7E3C5A7F-470C-4FA8-B982-FA4D8C131FB3}"/>
                </a:ext>
              </a:extLst>
            </p:cNvPr>
            <p:cNvSpPr>
              <a:spLocks/>
            </p:cNvSpPr>
            <p:nvPr/>
          </p:nvSpPr>
          <p:spPr bwMode="auto">
            <a:xfrm>
              <a:off x="4233863"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365">
              <a:extLst>
                <a:ext uri="{FF2B5EF4-FFF2-40B4-BE49-F238E27FC236}">
                  <a16:creationId xmlns:a16="http://schemas.microsoft.com/office/drawing/2014/main" id="{BB3834B2-770A-47C6-B928-659AA7E1ABBD}"/>
                </a:ext>
              </a:extLst>
            </p:cNvPr>
            <p:cNvSpPr>
              <a:spLocks/>
            </p:cNvSpPr>
            <p:nvPr/>
          </p:nvSpPr>
          <p:spPr bwMode="auto">
            <a:xfrm>
              <a:off x="4286251" y="2293938"/>
              <a:ext cx="19050"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1366">
              <a:extLst>
                <a:ext uri="{FF2B5EF4-FFF2-40B4-BE49-F238E27FC236}">
                  <a16:creationId xmlns:a16="http://schemas.microsoft.com/office/drawing/2014/main" id="{443C4EC3-BF24-4759-B22D-61AD8C0CF926}"/>
                </a:ext>
              </a:extLst>
            </p:cNvPr>
            <p:cNvSpPr>
              <a:spLocks/>
            </p:cNvSpPr>
            <p:nvPr/>
          </p:nvSpPr>
          <p:spPr bwMode="auto">
            <a:xfrm>
              <a:off x="4344988"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7" name="TextBox 66">
            <a:extLst>
              <a:ext uri="{FF2B5EF4-FFF2-40B4-BE49-F238E27FC236}">
                <a16:creationId xmlns:a16="http://schemas.microsoft.com/office/drawing/2014/main" id="{26B8A455-1444-4805-93F7-84A486258FDC}"/>
              </a:ext>
            </a:extLst>
          </p:cNvPr>
          <p:cNvSpPr txBox="1"/>
          <p:nvPr/>
        </p:nvSpPr>
        <p:spPr>
          <a:xfrm>
            <a:off x="8415716" y="4469540"/>
            <a:ext cx="2545480" cy="523220"/>
          </a:xfrm>
          <a:prstGeom prst="rect">
            <a:avLst/>
          </a:prstGeom>
          <a:noFill/>
        </p:spPr>
        <p:txBody>
          <a:bodyPr wrap="square" rtlCol="0">
            <a:spAutoFit/>
          </a:bodyPr>
          <a:lstStyle/>
          <a:p>
            <a:pPr algn="ctr"/>
            <a:r>
              <a:rPr lang="en-SG" sz="2800" dirty="0">
                <a:solidFill>
                  <a:schemeClr val="tx1">
                    <a:lumMod val="50000"/>
                    <a:lumOff val="50000"/>
                  </a:schemeClr>
                </a:solidFill>
                <a:latin typeface="Quicksand Book" panose="02070303000000060000" pitchFamily="18" charset="0"/>
              </a:rPr>
              <a:t>ELBO</a:t>
            </a:r>
          </a:p>
        </p:txBody>
      </p:sp>
      <p:cxnSp>
        <p:nvCxnSpPr>
          <p:cNvPr id="66" name="Straight Connector 65">
            <a:extLst>
              <a:ext uri="{FF2B5EF4-FFF2-40B4-BE49-F238E27FC236}">
                <a16:creationId xmlns:a16="http://schemas.microsoft.com/office/drawing/2014/main" id="{9F92D237-4A70-4846-BB76-41325BCF67F7}"/>
              </a:ext>
            </a:extLst>
          </p:cNvPr>
          <p:cNvCxnSpPr>
            <a:cxnSpLocks/>
          </p:cNvCxnSpPr>
          <p:nvPr/>
        </p:nvCxnSpPr>
        <p:spPr>
          <a:xfrm flipH="1" flipV="1">
            <a:off x="6196789" y="2036060"/>
            <a:ext cx="67483" cy="30151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1F29B289-0A1D-4EA7-BE26-93851F473EA1}"/>
              </a:ext>
            </a:extLst>
          </p:cNvPr>
          <p:cNvSpPr txBox="1"/>
          <p:nvPr/>
        </p:nvSpPr>
        <p:spPr>
          <a:xfrm rot="366514">
            <a:off x="8221747" y="1222839"/>
            <a:ext cx="3483751" cy="646331"/>
          </a:xfrm>
          <a:prstGeom prst="rect">
            <a:avLst/>
          </a:prstGeom>
          <a:noFill/>
          <a:ln w="12700">
            <a:solidFill>
              <a:schemeClr val="bg1"/>
            </a:solidFill>
            <a:prstDash val="lgDash"/>
          </a:ln>
        </p:spPr>
        <p:txBody>
          <a:bodyPr wrap="square" rtlCol="0">
            <a:spAutoFit/>
          </a:bodyPr>
          <a:lstStyle/>
          <a:p>
            <a:pPr algn="just"/>
            <a:r>
              <a:rPr lang="en-SG" dirty="0">
                <a:solidFill>
                  <a:schemeClr val="bg1"/>
                </a:solidFill>
                <a:latin typeface="Quicksand Light" panose="02070303000000060000" pitchFamily="18" charset="0"/>
              </a:rPr>
              <a:t>Alert feature, authentication and locking mechanism</a:t>
            </a:r>
          </a:p>
        </p:txBody>
      </p:sp>
      <p:grpSp>
        <p:nvGrpSpPr>
          <p:cNvPr id="120" name="Silos" descr="{&quot;Key&quot;:&quot;POWER_USER_SHAPE_ICON&quot;,&quot;Value&quot;:&quot;POWER_USER_SHAPE_ICON_STYLE_1&quot;}">
            <a:extLst>
              <a:ext uri="{FF2B5EF4-FFF2-40B4-BE49-F238E27FC236}">
                <a16:creationId xmlns:a16="http://schemas.microsoft.com/office/drawing/2014/main" id="{53863979-C2E7-4DD3-9CDE-C1B5779DB42B}"/>
              </a:ext>
            </a:extLst>
          </p:cNvPr>
          <p:cNvGrpSpPr>
            <a:grpSpLocks noChangeAspect="1"/>
          </p:cNvGrpSpPr>
          <p:nvPr>
            <p:custDataLst>
              <p:tags r:id="rId4"/>
            </p:custDataLst>
          </p:nvPr>
        </p:nvGrpSpPr>
        <p:grpSpPr>
          <a:xfrm>
            <a:off x="4765924" y="2478018"/>
            <a:ext cx="2680440" cy="1845232"/>
            <a:chOff x="3770313" y="2092325"/>
            <a:chExt cx="657225" cy="452438"/>
          </a:xfrm>
          <a:solidFill>
            <a:schemeClr val="bg1">
              <a:lumMod val="65000"/>
            </a:schemeClr>
          </a:solidFill>
        </p:grpSpPr>
        <p:sp>
          <p:nvSpPr>
            <p:cNvPr id="121" name="Freeform 1352">
              <a:extLst>
                <a:ext uri="{FF2B5EF4-FFF2-40B4-BE49-F238E27FC236}">
                  <a16:creationId xmlns:a16="http://schemas.microsoft.com/office/drawing/2014/main" id="{6FFB703F-F452-40E5-B00D-24B3A35D5CCF}"/>
                </a:ext>
              </a:extLst>
            </p:cNvPr>
            <p:cNvSpPr>
              <a:spLocks noEditPoints="1"/>
            </p:cNvSpPr>
            <p:nvPr/>
          </p:nvSpPr>
          <p:spPr bwMode="auto">
            <a:xfrm>
              <a:off x="3778251" y="2130425"/>
              <a:ext cx="298450" cy="414338"/>
            </a:xfrm>
            <a:custGeom>
              <a:avLst/>
              <a:gdLst>
                <a:gd name="T0" fmla="*/ 283 w 4233"/>
                <a:gd name="T1" fmla="*/ 5558 h 5841"/>
                <a:gd name="T2" fmla="*/ 3950 w 4233"/>
                <a:gd name="T3" fmla="*/ 5558 h 5841"/>
                <a:gd name="T4" fmla="*/ 3950 w 4233"/>
                <a:gd name="T5" fmla="*/ 1738 h 5841"/>
                <a:gd name="T6" fmla="*/ 3897 w 4233"/>
                <a:gd name="T7" fmla="*/ 1711 h 5841"/>
                <a:gd name="T8" fmla="*/ 2223 w 4233"/>
                <a:gd name="T9" fmla="*/ 331 h 5841"/>
                <a:gd name="T10" fmla="*/ 293 w 4233"/>
                <a:gd name="T11" fmla="*/ 1714 h 5841"/>
                <a:gd name="T12" fmla="*/ 283 w 4233"/>
                <a:gd name="T13" fmla="*/ 1721 h 5841"/>
                <a:gd name="T14" fmla="*/ 283 w 4233"/>
                <a:gd name="T15" fmla="*/ 5558 h 5841"/>
                <a:gd name="T16" fmla="*/ 4091 w 4233"/>
                <a:gd name="T17" fmla="*/ 5841 h 5841"/>
                <a:gd name="T18" fmla="*/ 141 w 4233"/>
                <a:gd name="T19" fmla="*/ 5841 h 5841"/>
                <a:gd name="T20" fmla="*/ 0 w 4233"/>
                <a:gd name="T21" fmla="*/ 5699 h 5841"/>
                <a:gd name="T22" fmla="*/ 0 w 4233"/>
                <a:gd name="T23" fmla="*/ 1599 h 5841"/>
                <a:gd name="T24" fmla="*/ 141 w 4233"/>
                <a:gd name="T25" fmla="*/ 1457 h 5841"/>
                <a:gd name="T26" fmla="*/ 165 w 4233"/>
                <a:gd name="T27" fmla="*/ 1457 h 5841"/>
                <a:gd name="T28" fmla="*/ 2146 w 4233"/>
                <a:gd name="T29" fmla="*/ 38 h 5841"/>
                <a:gd name="T30" fmla="*/ 2319 w 4233"/>
                <a:gd name="T31" fmla="*/ 43 h 5841"/>
                <a:gd name="T32" fmla="*/ 4033 w 4233"/>
                <a:gd name="T33" fmla="*/ 1456 h 5841"/>
                <a:gd name="T34" fmla="*/ 4081 w 4233"/>
                <a:gd name="T35" fmla="*/ 1452 h 5841"/>
                <a:gd name="T36" fmla="*/ 4188 w 4233"/>
                <a:gd name="T37" fmla="*/ 1489 h 5841"/>
                <a:gd name="T38" fmla="*/ 4233 w 4233"/>
                <a:gd name="T39" fmla="*/ 1593 h 5841"/>
                <a:gd name="T40" fmla="*/ 4233 w 4233"/>
                <a:gd name="T41" fmla="*/ 5699 h 5841"/>
                <a:gd name="T42" fmla="*/ 4091 w 4233"/>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3" h="5841">
                  <a:moveTo>
                    <a:pt x="283" y="5558"/>
                  </a:moveTo>
                  <a:lnTo>
                    <a:pt x="3950" y="5558"/>
                  </a:lnTo>
                  <a:lnTo>
                    <a:pt x="3950" y="1738"/>
                  </a:lnTo>
                  <a:cubicBezTo>
                    <a:pt x="3931" y="1732"/>
                    <a:pt x="3913" y="1723"/>
                    <a:pt x="3897" y="1711"/>
                  </a:cubicBezTo>
                  <a:lnTo>
                    <a:pt x="2223" y="331"/>
                  </a:lnTo>
                  <a:lnTo>
                    <a:pt x="293" y="1714"/>
                  </a:lnTo>
                  <a:cubicBezTo>
                    <a:pt x="290" y="1716"/>
                    <a:pt x="286" y="1719"/>
                    <a:pt x="283" y="1721"/>
                  </a:cubicBezTo>
                  <a:lnTo>
                    <a:pt x="283" y="5558"/>
                  </a:lnTo>
                  <a:close/>
                  <a:moveTo>
                    <a:pt x="4091" y="5841"/>
                  </a:moveTo>
                  <a:lnTo>
                    <a:pt x="141" y="5841"/>
                  </a:lnTo>
                  <a:cubicBezTo>
                    <a:pt x="63" y="5841"/>
                    <a:pt x="0" y="5777"/>
                    <a:pt x="0" y="5699"/>
                  </a:cubicBezTo>
                  <a:lnTo>
                    <a:pt x="0" y="1599"/>
                  </a:lnTo>
                  <a:cubicBezTo>
                    <a:pt x="0" y="1521"/>
                    <a:pt x="63" y="1457"/>
                    <a:pt x="141" y="1457"/>
                  </a:cubicBezTo>
                  <a:lnTo>
                    <a:pt x="165" y="1457"/>
                  </a:lnTo>
                  <a:lnTo>
                    <a:pt x="2146" y="38"/>
                  </a:lnTo>
                  <a:cubicBezTo>
                    <a:pt x="2198" y="0"/>
                    <a:pt x="2269" y="2"/>
                    <a:pt x="2319" y="43"/>
                  </a:cubicBezTo>
                  <a:lnTo>
                    <a:pt x="4033" y="1456"/>
                  </a:lnTo>
                  <a:lnTo>
                    <a:pt x="4081" y="1452"/>
                  </a:lnTo>
                  <a:cubicBezTo>
                    <a:pt x="4120" y="1449"/>
                    <a:pt x="4159" y="1463"/>
                    <a:pt x="4188" y="1489"/>
                  </a:cubicBezTo>
                  <a:cubicBezTo>
                    <a:pt x="4217" y="1516"/>
                    <a:pt x="4233" y="1554"/>
                    <a:pt x="4233" y="1593"/>
                  </a:cubicBezTo>
                  <a:lnTo>
                    <a:pt x="4233" y="5699"/>
                  </a:lnTo>
                  <a:cubicBezTo>
                    <a:pt x="4233" y="5777"/>
                    <a:pt x="4170" y="5841"/>
                    <a:pt x="4091"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1353">
              <a:extLst>
                <a:ext uri="{FF2B5EF4-FFF2-40B4-BE49-F238E27FC236}">
                  <a16:creationId xmlns:a16="http://schemas.microsoft.com/office/drawing/2014/main" id="{1B455134-8AAA-4589-9401-886356B27662}"/>
                </a:ext>
              </a:extLst>
            </p:cNvPr>
            <p:cNvSpPr>
              <a:spLocks/>
            </p:cNvSpPr>
            <p:nvPr/>
          </p:nvSpPr>
          <p:spPr bwMode="auto">
            <a:xfrm>
              <a:off x="37703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1354">
              <a:extLst>
                <a:ext uri="{FF2B5EF4-FFF2-40B4-BE49-F238E27FC236}">
                  <a16:creationId xmlns:a16="http://schemas.microsoft.com/office/drawing/2014/main" id="{B8984F32-5826-4BA4-A41C-9A1AA35082F6}"/>
                </a:ext>
              </a:extLst>
            </p:cNvPr>
            <p:cNvSpPr>
              <a:spLocks noEditPoints="1"/>
            </p:cNvSpPr>
            <p:nvPr/>
          </p:nvSpPr>
          <p:spPr bwMode="auto">
            <a:xfrm>
              <a:off x="4121151" y="2130425"/>
              <a:ext cx="300038" cy="414338"/>
            </a:xfrm>
            <a:custGeom>
              <a:avLst/>
              <a:gdLst>
                <a:gd name="T0" fmla="*/ 284 w 4234"/>
                <a:gd name="T1" fmla="*/ 5557 h 5841"/>
                <a:gd name="T2" fmla="*/ 3950 w 4234"/>
                <a:gd name="T3" fmla="*/ 5557 h 5841"/>
                <a:gd name="T4" fmla="*/ 3950 w 4234"/>
                <a:gd name="T5" fmla="*/ 1739 h 5841"/>
                <a:gd name="T6" fmla="*/ 3894 w 4234"/>
                <a:gd name="T7" fmla="*/ 1711 h 5841"/>
                <a:gd name="T8" fmla="*/ 2216 w 4234"/>
                <a:gd name="T9" fmla="*/ 331 h 5841"/>
                <a:gd name="T10" fmla="*/ 286 w 4234"/>
                <a:gd name="T11" fmla="*/ 1715 h 5841"/>
                <a:gd name="T12" fmla="*/ 284 w 4234"/>
                <a:gd name="T13" fmla="*/ 1716 h 5841"/>
                <a:gd name="T14" fmla="*/ 284 w 4234"/>
                <a:gd name="T15" fmla="*/ 5557 h 5841"/>
                <a:gd name="T16" fmla="*/ 4092 w 4234"/>
                <a:gd name="T17" fmla="*/ 5841 h 5841"/>
                <a:gd name="T18" fmla="*/ 142 w 4234"/>
                <a:gd name="T19" fmla="*/ 5841 h 5841"/>
                <a:gd name="T20" fmla="*/ 0 w 4234"/>
                <a:gd name="T21" fmla="*/ 5700 h 5841"/>
                <a:gd name="T22" fmla="*/ 0 w 4234"/>
                <a:gd name="T23" fmla="*/ 1599 h 5841"/>
                <a:gd name="T24" fmla="*/ 142 w 4234"/>
                <a:gd name="T25" fmla="*/ 1458 h 5841"/>
                <a:gd name="T26" fmla="*/ 158 w 4234"/>
                <a:gd name="T27" fmla="*/ 1458 h 5841"/>
                <a:gd name="T28" fmla="*/ 2139 w 4234"/>
                <a:gd name="T29" fmla="*/ 37 h 5841"/>
                <a:gd name="T30" fmla="*/ 2312 w 4234"/>
                <a:gd name="T31" fmla="*/ 43 h 5841"/>
                <a:gd name="T32" fmla="*/ 4030 w 4234"/>
                <a:gd name="T33" fmla="*/ 1456 h 5841"/>
                <a:gd name="T34" fmla="*/ 4082 w 4234"/>
                <a:gd name="T35" fmla="*/ 1452 h 5841"/>
                <a:gd name="T36" fmla="*/ 4189 w 4234"/>
                <a:gd name="T37" fmla="*/ 1490 h 5841"/>
                <a:gd name="T38" fmla="*/ 4234 w 4234"/>
                <a:gd name="T39" fmla="*/ 1594 h 5841"/>
                <a:gd name="T40" fmla="*/ 4234 w 4234"/>
                <a:gd name="T41" fmla="*/ 5700 h 5841"/>
                <a:gd name="T42" fmla="*/ 4092 w 4234"/>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4" h="5841">
                  <a:moveTo>
                    <a:pt x="284" y="5557"/>
                  </a:moveTo>
                  <a:lnTo>
                    <a:pt x="3950" y="5557"/>
                  </a:lnTo>
                  <a:lnTo>
                    <a:pt x="3950" y="1739"/>
                  </a:lnTo>
                  <a:cubicBezTo>
                    <a:pt x="3930" y="1734"/>
                    <a:pt x="3911" y="1724"/>
                    <a:pt x="3894" y="1711"/>
                  </a:cubicBezTo>
                  <a:lnTo>
                    <a:pt x="2216" y="331"/>
                  </a:lnTo>
                  <a:lnTo>
                    <a:pt x="286" y="1715"/>
                  </a:lnTo>
                  <a:cubicBezTo>
                    <a:pt x="285" y="1715"/>
                    <a:pt x="285" y="1715"/>
                    <a:pt x="284" y="1716"/>
                  </a:cubicBezTo>
                  <a:lnTo>
                    <a:pt x="284" y="5557"/>
                  </a:lnTo>
                  <a:close/>
                  <a:moveTo>
                    <a:pt x="4092" y="5841"/>
                  </a:moveTo>
                  <a:lnTo>
                    <a:pt x="142" y="5841"/>
                  </a:lnTo>
                  <a:cubicBezTo>
                    <a:pt x="64" y="5841"/>
                    <a:pt x="0" y="5778"/>
                    <a:pt x="0" y="5700"/>
                  </a:cubicBezTo>
                  <a:lnTo>
                    <a:pt x="0" y="1599"/>
                  </a:lnTo>
                  <a:cubicBezTo>
                    <a:pt x="0" y="1521"/>
                    <a:pt x="64" y="1458"/>
                    <a:pt x="142" y="1458"/>
                  </a:cubicBezTo>
                  <a:lnTo>
                    <a:pt x="158" y="1458"/>
                  </a:lnTo>
                  <a:lnTo>
                    <a:pt x="2139" y="37"/>
                  </a:lnTo>
                  <a:cubicBezTo>
                    <a:pt x="2192" y="0"/>
                    <a:pt x="2262" y="3"/>
                    <a:pt x="2312" y="43"/>
                  </a:cubicBezTo>
                  <a:lnTo>
                    <a:pt x="4030" y="1456"/>
                  </a:lnTo>
                  <a:lnTo>
                    <a:pt x="4082" y="1452"/>
                  </a:lnTo>
                  <a:cubicBezTo>
                    <a:pt x="4121" y="1449"/>
                    <a:pt x="4160" y="1463"/>
                    <a:pt x="4189" y="1490"/>
                  </a:cubicBezTo>
                  <a:cubicBezTo>
                    <a:pt x="4217" y="1517"/>
                    <a:pt x="4234" y="1554"/>
                    <a:pt x="4234" y="1594"/>
                  </a:cubicBezTo>
                  <a:lnTo>
                    <a:pt x="4234" y="5700"/>
                  </a:lnTo>
                  <a:cubicBezTo>
                    <a:pt x="4234" y="5778"/>
                    <a:pt x="4170" y="5841"/>
                    <a:pt x="4092"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Freeform 1355">
              <a:extLst>
                <a:ext uri="{FF2B5EF4-FFF2-40B4-BE49-F238E27FC236}">
                  <a16:creationId xmlns:a16="http://schemas.microsoft.com/office/drawing/2014/main" id="{0B423AE6-01E7-4FBE-9F99-5ECFDBB749C8}"/>
                </a:ext>
              </a:extLst>
            </p:cNvPr>
            <p:cNvSpPr>
              <a:spLocks/>
            </p:cNvSpPr>
            <p:nvPr/>
          </p:nvSpPr>
          <p:spPr bwMode="auto">
            <a:xfrm>
              <a:off x="41132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1356">
              <a:extLst>
                <a:ext uri="{FF2B5EF4-FFF2-40B4-BE49-F238E27FC236}">
                  <a16:creationId xmlns:a16="http://schemas.microsoft.com/office/drawing/2014/main" id="{D6F89056-8E40-4D0D-9E55-949C0781748A}"/>
                </a:ext>
              </a:extLst>
            </p:cNvPr>
            <p:cNvSpPr>
              <a:spLocks/>
            </p:cNvSpPr>
            <p:nvPr/>
          </p:nvSpPr>
          <p:spPr bwMode="auto">
            <a:xfrm>
              <a:off x="3924301" y="2093913"/>
              <a:ext cx="20638" cy="57150"/>
            </a:xfrm>
            <a:custGeom>
              <a:avLst/>
              <a:gdLst>
                <a:gd name="T0" fmla="*/ 142 w 283"/>
                <a:gd name="T1" fmla="*/ 800 h 800"/>
                <a:gd name="T2" fmla="*/ 0 w 283"/>
                <a:gd name="T3" fmla="*/ 658 h 800"/>
                <a:gd name="T4" fmla="*/ 0 w 283"/>
                <a:gd name="T5" fmla="*/ 141 h 800"/>
                <a:gd name="T6" fmla="*/ 142 w 283"/>
                <a:gd name="T7" fmla="*/ 0 h 800"/>
                <a:gd name="T8" fmla="*/ 283 w 283"/>
                <a:gd name="T9" fmla="*/ 141 h 800"/>
                <a:gd name="T10" fmla="*/ 283 w 283"/>
                <a:gd name="T11" fmla="*/ 658 h 800"/>
                <a:gd name="T12" fmla="*/ 142 w 283"/>
                <a:gd name="T13" fmla="*/ 800 h 800"/>
              </a:gdLst>
              <a:ahLst/>
              <a:cxnLst>
                <a:cxn ang="0">
                  <a:pos x="T0" y="T1"/>
                </a:cxn>
                <a:cxn ang="0">
                  <a:pos x="T2" y="T3"/>
                </a:cxn>
                <a:cxn ang="0">
                  <a:pos x="T4" y="T5"/>
                </a:cxn>
                <a:cxn ang="0">
                  <a:pos x="T6" y="T7"/>
                </a:cxn>
                <a:cxn ang="0">
                  <a:pos x="T8" y="T9"/>
                </a:cxn>
                <a:cxn ang="0">
                  <a:pos x="T10" y="T11"/>
                </a:cxn>
                <a:cxn ang="0">
                  <a:pos x="T12" y="T13"/>
                </a:cxn>
              </a:cxnLst>
              <a:rect l="0" t="0" r="r" b="b"/>
              <a:pathLst>
                <a:path w="283" h="800">
                  <a:moveTo>
                    <a:pt x="142" y="800"/>
                  </a:moveTo>
                  <a:cubicBezTo>
                    <a:pt x="64" y="800"/>
                    <a:pt x="0" y="736"/>
                    <a:pt x="0" y="658"/>
                  </a:cubicBezTo>
                  <a:lnTo>
                    <a:pt x="0" y="141"/>
                  </a:lnTo>
                  <a:cubicBezTo>
                    <a:pt x="0" y="63"/>
                    <a:pt x="64" y="0"/>
                    <a:pt x="142" y="0"/>
                  </a:cubicBezTo>
                  <a:cubicBezTo>
                    <a:pt x="220" y="0"/>
                    <a:pt x="283" y="63"/>
                    <a:pt x="283" y="141"/>
                  </a:cubicBezTo>
                  <a:lnTo>
                    <a:pt x="283" y="658"/>
                  </a:lnTo>
                  <a:cubicBezTo>
                    <a:pt x="283" y="736"/>
                    <a:pt x="220" y="800"/>
                    <a:pt x="142" y="8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1357">
              <a:extLst>
                <a:ext uri="{FF2B5EF4-FFF2-40B4-BE49-F238E27FC236}">
                  <a16:creationId xmlns:a16="http://schemas.microsoft.com/office/drawing/2014/main" id="{E3577E09-9BC8-4E9D-B3C2-949CE779B401}"/>
                </a:ext>
              </a:extLst>
            </p:cNvPr>
            <p:cNvSpPr>
              <a:spLocks/>
            </p:cNvSpPr>
            <p:nvPr/>
          </p:nvSpPr>
          <p:spPr bwMode="auto">
            <a:xfrm>
              <a:off x="4267201" y="2098675"/>
              <a:ext cx="20638" cy="52388"/>
            </a:xfrm>
            <a:custGeom>
              <a:avLst/>
              <a:gdLst>
                <a:gd name="T0" fmla="*/ 142 w 283"/>
                <a:gd name="T1" fmla="*/ 734 h 734"/>
                <a:gd name="T2" fmla="*/ 0 w 283"/>
                <a:gd name="T3" fmla="*/ 592 h 734"/>
                <a:gd name="T4" fmla="*/ 0 w 283"/>
                <a:gd name="T5" fmla="*/ 142 h 734"/>
                <a:gd name="T6" fmla="*/ 142 w 283"/>
                <a:gd name="T7" fmla="*/ 0 h 734"/>
                <a:gd name="T8" fmla="*/ 283 w 283"/>
                <a:gd name="T9" fmla="*/ 142 h 734"/>
                <a:gd name="T10" fmla="*/ 283 w 283"/>
                <a:gd name="T11" fmla="*/ 592 h 734"/>
                <a:gd name="T12" fmla="*/ 142 w 283"/>
                <a:gd name="T13" fmla="*/ 734 h 734"/>
              </a:gdLst>
              <a:ahLst/>
              <a:cxnLst>
                <a:cxn ang="0">
                  <a:pos x="T0" y="T1"/>
                </a:cxn>
                <a:cxn ang="0">
                  <a:pos x="T2" y="T3"/>
                </a:cxn>
                <a:cxn ang="0">
                  <a:pos x="T4" y="T5"/>
                </a:cxn>
                <a:cxn ang="0">
                  <a:pos x="T6" y="T7"/>
                </a:cxn>
                <a:cxn ang="0">
                  <a:pos x="T8" y="T9"/>
                </a:cxn>
                <a:cxn ang="0">
                  <a:pos x="T10" y="T11"/>
                </a:cxn>
                <a:cxn ang="0">
                  <a:pos x="T12" y="T13"/>
                </a:cxn>
              </a:cxnLst>
              <a:rect l="0" t="0" r="r" b="b"/>
              <a:pathLst>
                <a:path w="283" h="734">
                  <a:moveTo>
                    <a:pt x="142" y="734"/>
                  </a:moveTo>
                  <a:cubicBezTo>
                    <a:pt x="64" y="734"/>
                    <a:pt x="0" y="670"/>
                    <a:pt x="0" y="592"/>
                  </a:cubicBezTo>
                  <a:lnTo>
                    <a:pt x="0" y="142"/>
                  </a:lnTo>
                  <a:cubicBezTo>
                    <a:pt x="0" y="64"/>
                    <a:pt x="64" y="0"/>
                    <a:pt x="142" y="0"/>
                  </a:cubicBezTo>
                  <a:cubicBezTo>
                    <a:pt x="220" y="0"/>
                    <a:pt x="283" y="64"/>
                    <a:pt x="283" y="142"/>
                  </a:cubicBezTo>
                  <a:lnTo>
                    <a:pt x="283" y="592"/>
                  </a:lnTo>
                  <a:cubicBezTo>
                    <a:pt x="283" y="670"/>
                    <a:pt x="220" y="734"/>
                    <a:pt x="142" y="7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1358">
              <a:extLst>
                <a:ext uri="{FF2B5EF4-FFF2-40B4-BE49-F238E27FC236}">
                  <a16:creationId xmlns:a16="http://schemas.microsoft.com/office/drawing/2014/main" id="{1488C1FE-C19C-4764-90B6-D125C7944949}"/>
                </a:ext>
              </a:extLst>
            </p:cNvPr>
            <p:cNvSpPr>
              <a:spLocks/>
            </p:cNvSpPr>
            <p:nvPr/>
          </p:nvSpPr>
          <p:spPr bwMode="auto">
            <a:xfrm>
              <a:off x="3924301" y="2092325"/>
              <a:ext cx="363538" cy="20638"/>
            </a:xfrm>
            <a:custGeom>
              <a:avLst/>
              <a:gdLst>
                <a:gd name="T0" fmla="*/ 4991 w 5133"/>
                <a:gd name="T1" fmla="*/ 283 h 283"/>
                <a:gd name="T2" fmla="*/ 141 w 5133"/>
                <a:gd name="T3" fmla="*/ 283 h 283"/>
                <a:gd name="T4" fmla="*/ 0 w 5133"/>
                <a:gd name="T5" fmla="*/ 141 h 283"/>
                <a:gd name="T6" fmla="*/ 141 w 5133"/>
                <a:gd name="T7" fmla="*/ 0 h 283"/>
                <a:gd name="T8" fmla="*/ 4991 w 5133"/>
                <a:gd name="T9" fmla="*/ 0 h 283"/>
                <a:gd name="T10" fmla="*/ 5133 w 5133"/>
                <a:gd name="T11" fmla="*/ 141 h 283"/>
                <a:gd name="T12" fmla="*/ 4991 w 5133"/>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5133" h="283">
                  <a:moveTo>
                    <a:pt x="4991" y="283"/>
                  </a:moveTo>
                  <a:lnTo>
                    <a:pt x="141" y="283"/>
                  </a:lnTo>
                  <a:cubicBezTo>
                    <a:pt x="63" y="283"/>
                    <a:pt x="0" y="220"/>
                    <a:pt x="0" y="141"/>
                  </a:cubicBezTo>
                  <a:cubicBezTo>
                    <a:pt x="0" y="63"/>
                    <a:pt x="63" y="0"/>
                    <a:pt x="141" y="0"/>
                  </a:cubicBezTo>
                  <a:lnTo>
                    <a:pt x="4991" y="0"/>
                  </a:lnTo>
                  <a:cubicBezTo>
                    <a:pt x="5070" y="0"/>
                    <a:pt x="5133" y="63"/>
                    <a:pt x="5133" y="141"/>
                  </a:cubicBezTo>
                  <a:cubicBezTo>
                    <a:pt x="5133" y="220"/>
                    <a:pt x="5070" y="283"/>
                    <a:pt x="4991"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1359">
              <a:extLst>
                <a:ext uri="{FF2B5EF4-FFF2-40B4-BE49-F238E27FC236}">
                  <a16:creationId xmlns:a16="http://schemas.microsoft.com/office/drawing/2014/main" id="{F653BE66-77F9-444F-A13A-94A5868808FE}"/>
                </a:ext>
              </a:extLst>
            </p:cNvPr>
            <p:cNvSpPr>
              <a:spLocks/>
            </p:cNvSpPr>
            <p:nvPr/>
          </p:nvSpPr>
          <p:spPr bwMode="auto">
            <a:xfrm>
              <a:off x="3829051"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1360">
              <a:extLst>
                <a:ext uri="{FF2B5EF4-FFF2-40B4-BE49-F238E27FC236}">
                  <a16:creationId xmlns:a16="http://schemas.microsoft.com/office/drawing/2014/main" id="{F8AFA2BC-875C-4273-B4FA-A1A163B5BAA0}"/>
                </a:ext>
              </a:extLst>
            </p:cNvPr>
            <p:cNvSpPr>
              <a:spLocks/>
            </p:cNvSpPr>
            <p:nvPr/>
          </p:nvSpPr>
          <p:spPr bwMode="auto">
            <a:xfrm>
              <a:off x="3884613"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1361">
              <a:extLst>
                <a:ext uri="{FF2B5EF4-FFF2-40B4-BE49-F238E27FC236}">
                  <a16:creationId xmlns:a16="http://schemas.microsoft.com/office/drawing/2014/main" id="{B2B09C32-A862-4930-8829-039E92467CE3}"/>
                </a:ext>
              </a:extLst>
            </p:cNvPr>
            <p:cNvSpPr>
              <a:spLocks/>
            </p:cNvSpPr>
            <p:nvPr/>
          </p:nvSpPr>
          <p:spPr bwMode="auto">
            <a:xfrm>
              <a:off x="3937001"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Freeform 1362">
              <a:extLst>
                <a:ext uri="{FF2B5EF4-FFF2-40B4-BE49-F238E27FC236}">
                  <a16:creationId xmlns:a16="http://schemas.microsoft.com/office/drawing/2014/main" id="{739561E7-7E43-477A-BEC8-181CA68E6404}"/>
                </a:ext>
              </a:extLst>
            </p:cNvPr>
            <p:cNvSpPr>
              <a:spLocks/>
            </p:cNvSpPr>
            <p:nvPr/>
          </p:nvSpPr>
          <p:spPr bwMode="auto">
            <a:xfrm>
              <a:off x="3997326"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1363">
              <a:extLst>
                <a:ext uri="{FF2B5EF4-FFF2-40B4-BE49-F238E27FC236}">
                  <a16:creationId xmlns:a16="http://schemas.microsoft.com/office/drawing/2014/main" id="{3146EF7B-5D8B-459A-B5DD-843DD7A7DAB0}"/>
                </a:ext>
              </a:extLst>
            </p:cNvPr>
            <p:cNvSpPr>
              <a:spLocks/>
            </p:cNvSpPr>
            <p:nvPr/>
          </p:nvSpPr>
          <p:spPr bwMode="auto">
            <a:xfrm>
              <a:off x="4178301"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1364">
              <a:extLst>
                <a:ext uri="{FF2B5EF4-FFF2-40B4-BE49-F238E27FC236}">
                  <a16:creationId xmlns:a16="http://schemas.microsoft.com/office/drawing/2014/main" id="{E13115FB-F31A-4471-A3C8-8E412294D30C}"/>
                </a:ext>
              </a:extLst>
            </p:cNvPr>
            <p:cNvSpPr>
              <a:spLocks/>
            </p:cNvSpPr>
            <p:nvPr/>
          </p:nvSpPr>
          <p:spPr bwMode="auto">
            <a:xfrm>
              <a:off x="4233863"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1365">
              <a:extLst>
                <a:ext uri="{FF2B5EF4-FFF2-40B4-BE49-F238E27FC236}">
                  <a16:creationId xmlns:a16="http://schemas.microsoft.com/office/drawing/2014/main" id="{ABBB22E4-288C-4F26-AC81-0366FAD8EB56}"/>
                </a:ext>
              </a:extLst>
            </p:cNvPr>
            <p:cNvSpPr>
              <a:spLocks/>
            </p:cNvSpPr>
            <p:nvPr/>
          </p:nvSpPr>
          <p:spPr bwMode="auto">
            <a:xfrm>
              <a:off x="4286251" y="2293938"/>
              <a:ext cx="19050"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1366">
              <a:extLst>
                <a:ext uri="{FF2B5EF4-FFF2-40B4-BE49-F238E27FC236}">
                  <a16:creationId xmlns:a16="http://schemas.microsoft.com/office/drawing/2014/main" id="{922D0C92-FA43-4337-9DAD-5B6E6D543CBE}"/>
                </a:ext>
              </a:extLst>
            </p:cNvPr>
            <p:cNvSpPr>
              <a:spLocks/>
            </p:cNvSpPr>
            <p:nvPr/>
          </p:nvSpPr>
          <p:spPr bwMode="auto">
            <a:xfrm>
              <a:off x="4344988"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1" name="Silos" descr="{&quot;Key&quot;:&quot;POWER_USER_SHAPE_ICON&quot;,&quot;Value&quot;:&quot;POWER_USER_SHAPE_ICON_STYLE_1&quot;}">
            <a:extLst>
              <a:ext uri="{FF2B5EF4-FFF2-40B4-BE49-F238E27FC236}">
                <a16:creationId xmlns:a16="http://schemas.microsoft.com/office/drawing/2014/main" id="{6E1AC83B-776E-48B7-9D59-42753B36BB4E}"/>
              </a:ext>
            </a:extLst>
          </p:cNvPr>
          <p:cNvGrpSpPr>
            <a:grpSpLocks noChangeAspect="1"/>
          </p:cNvGrpSpPr>
          <p:nvPr>
            <p:custDataLst>
              <p:tags r:id="rId5"/>
            </p:custDataLst>
          </p:nvPr>
        </p:nvGrpSpPr>
        <p:grpSpPr>
          <a:xfrm>
            <a:off x="8257591" y="2494835"/>
            <a:ext cx="2680440" cy="1845232"/>
            <a:chOff x="3770313" y="2092325"/>
            <a:chExt cx="657225" cy="452438"/>
          </a:xfrm>
          <a:solidFill>
            <a:schemeClr val="bg1">
              <a:lumMod val="65000"/>
            </a:schemeClr>
          </a:solidFill>
        </p:grpSpPr>
        <p:sp>
          <p:nvSpPr>
            <p:cNvPr id="92" name="Freeform 1352">
              <a:extLst>
                <a:ext uri="{FF2B5EF4-FFF2-40B4-BE49-F238E27FC236}">
                  <a16:creationId xmlns:a16="http://schemas.microsoft.com/office/drawing/2014/main" id="{0903F152-4C90-40C5-B47F-171399A91663}"/>
                </a:ext>
              </a:extLst>
            </p:cNvPr>
            <p:cNvSpPr>
              <a:spLocks noEditPoints="1"/>
            </p:cNvSpPr>
            <p:nvPr/>
          </p:nvSpPr>
          <p:spPr bwMode="auto">
            <a:xfrm>
              <a:off x="3778251" y="2130425"/>
              <a:ext cx="298450" cy="414338"/>
            </a:xfrm>
            <a:custGeom>
              <a:avLst/>
              <a:gdLst>
                <a:gd name="T0" fmla="*/ 283 w 4233"/>
                <a:gd name="T1" fmla="*/ 5558 h 5841"/>
                <a:gd name="T2" fmla="*/ 3950 w 4233"/>
                <a:gd name="T3" fmla="*/ 5558 h 5841"/>
                <a:gd name="T4" fmla="*/ 3950 w 4233"/>
                <a:gd name="T5" fmla="*/ 1738 h 5841"/>
                <a:gd name="T6" fmla="*/ 3897 w 4233"/>
                <a:gd name="T7" fmla="*/ 1711 h 5841"/>
                <a:gd name="T8" fmla="*/ 2223 w 4233"/>
                <a:gd name="T9" fmla="*/ 331 h 5841"/>
                <a:gd name="T10" fmla="*/ 293 w 4233"/>
                <a:gd name="T11" fmla="*/ 1714 h 5841"/>
                <a:gd name="T12" fmla="*/ 283 w 4233"/>
                <a:gd name="T13" fmla="*/ 1721 h 5841"/>
                <a:gd name="T14" fmla="*/ 283 w 4233"/>
                <a:gd name="T15" fmla="*/ 5558 h 5841"/>
                <a:gd name="T16" fmla="*/ 4091 w 4233"/>
                <a:gd name="T17" fmla="*/ 5841 h 5841"/>
                <a:gd name="T18" fmla="*/ 141 w 4233"/>
                <a:gd name="T19" fmla="*/ 5841 h 5841"/>
                <a:gd name="T20" fmla="*/ 0 w 4233"/>
                <a:gd name="T21" fmla="*/ 5699 h 5841"/>
                <a:gd name="T22" fmla="*/ 0 w 4233"/>
                <a:gd name="T23" fmla="*/ 1599 h 5841"/>
                <a:gd name="T24" fmla="*/ 141 w 4233"/>
                <a:gd name="T25" fmla="*/ 1457 h 5841"/>
                <a:gd name="T26" fmla="*/ 165 w 4233"/>
                <a:gd name="T27" fmla="*/ 1457 h 5841"/>
                <a:gd name="T28" fmla="*/ 2146 w 4233"/>
                <a:gd name="T29" fmla="*/ 38 h 5841"/>
                <a:gd name="T30" fmla="*/ 2319 w 4233"/>
                <a:gd name="T31" fmla="*/ 43 h 5841"/>
                <a:gd name="T32" fmla="*/ 4033 w 4233"/>
                <a:gd name="T33" fmla="*/ 1456 h 5841"/>
                <a:gd name="T34" fmla="*/ 4081 w 4233"/>
                <a:gd name="T35" fmla="*/ 1452 h 5841"/>
                <a:gd name="T36" fmla="*/ 4188 w 4233"/>
                <a:gd name="T37" fmla="*/ 1489 h 5841"/>
                <a:gd name="T38" fmla="*/ 4233 w 4233"/>
                <a:gd name="T39" fmla="*/ 1593 h 5841"/>
                <a:gd name="T40" fmla="*/ 4233 w 4233"/>
                <a:gd name="T41" fmla="*/ 5699 h 5841"/>
                <a:gd name="T42" fmla="*/ 4091 w 4233"/>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3" h="5841">
                  <a:moveTo>
                    <a:pt x="283" y="5558"/>
                  </a:moveTo>
                  <a:lnTo>
                    <a:pt x="3950" y="5558"/>
                  </a:lnTo>
                  <a:lnTo>
                    <a:pt x="3950" y="1738"/>
                  </a:lnTo>
                  <a:cubicBezTo>
                    <a:pt x="3931" y="1732"/>
                    <a:pt x="3913" y="1723"/>
                    <a:pt x="3897" y="1711"/>
                  </a:cubicBezTo>
                  <a:lnTo>
                    <a:pt x="2223" y="331"/>
                  </a:lnTo>
                  <a:lnTo>
                    <a:pt x="293" y="1714"/>
                  </a:lnTo>
                  <a:cubicBezTo>
                    <a:pt x="290" y="1716"/>
                    <a:pt x="286" y="1719"/>
                    <a:pt x="283" y="1721"/>
                  </a:cubicBezTo>
                  <a:lnTo>
                    <a:pt x="283" y="5558"/>
                  </a:lnTo>
                  <a:close/>
                  <a:moveTo>
                    <a:pt x="4091" y="5841"/>
                  </a:moveTo>
                  <a:lnTo>
                    <a:pt x="141" y="5841"/>
                  </a:lnTo>
                  <a:cubicBezTo>
                    <a:pt x="63" y="5841"/>
                    <a:pt x="0" y="5777"/>
                    <a:pt x="0" y="5699"/>
                  </a:cubicBezTo>
                  <a:lnTo>
                    <a:pt x="0" y="1599"/>
                  </a:lnTo>
                  <a:cubicBezTo>
                    <a:pt x="0" y="1521"/>
                    <a:pt x="63" y="1457"/>
                    <a:pt x="141" y="1457"/>
                  </a:cubicBezTo>
                  <a:lnTo>
                    <a:pt x="165" y="1457"/>
                  </a:lnTo>
                  <a:lnTo>
                    <a:pt x="2146" y="38"/>
                  </a:lnTo>
                  <a:cubicBezTo>
                    <a:pt x="2198" y="0"/>
                    <a:pt x="2269" y="2"/>
                    <a:pt x="2319" y="43"/>
                  </a:cubicBezTo>
                  <a:lnTo>
                    <a:pt x="4033" y="1456"/>
                  </a:lnTo>
                  <a:lnTo>
                    <a:pt x="4081" y="1452"/>
                  </a:lnTo>
                  <a:cubicBezTo>
                    <a:pt x="4120" y="1449"/>
                    <a:pt x="4159" y="1463"/>
                    <a:pt x="4188" y="1489"/>
                  </a:cubicBezTo>
                  <a:cubicBezTo>
                    <a:pt x="4217" y="1516"/>
                    <a:pt x="4233" y="1554"/>
                    <a:pt x="4233" y="1593"/>
                  </a:cubicBezTo>
                  <a:lnTo>
                    <a:pt x="4233" y="5699"/>
                  </a:lnTo>
                  <a:cubicBezTo>
                    <a:pt x="4233" y="5777"/>
                    <a:pt x="4170" y="5841"/>
                    <a:pt x="4091"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1353">
              <a:extLst>
                <a:ext uri="{FF2B5EF4-FFF2-40B4-BE49-F238E27FC236}">
                  <a16:creationId xmlns:a16="http://schemas.microsoft.com/office/drawing/2014/main" id="{4D5BBA40-BF1D-4D78-8C9F-D077986C05B2}"/>
                </a:ext>
              </a:extLst>
            </p:cNvPr>
            <p:cNvSpPr>
              <a:spLocks/>
            </p:cNvSpPr>
            <p:nvPr/>
          </p:nvSpPr>
          <p:spPr bwMode="auto">
            <a:xfrm>
              <a:off x="37703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1354">
              <a:extLst>
                <a:ext uri="{FF2B5EF4-FFF2-40B4-BE49-F238E27FC236}">
                  <a16:creationId xmlns:a16="http://schemas.microsoft.com/office/drawing/2014/main" id="{CFCAFB27-91EF-47FA-AAEA-4616C96137EA}"/>
                </a:ext>
              </a:extLst>
            </p:cNvPr>
            <p:cNvSpPr>
              <a:spLocks noEditPoints="1"/>
            </p:cNvSpPr>
            <p:nvPr/>
          </p:nvSpPr>
          <p:spPr bwMode="auto">
            <a:xfrm>
              <a:off x="4121151" y="2130425"/>
              <a:ext cx="300038" cy="414338"/>
            </a:xfrm>
            <a:custGeom>
              <a:avLst/>
              <a:gdLst>
                <a:gd name="T0" fmla="*/ 284 w 4234"/>
                <a:gd name="T1" fmla="*/ 5557 h 5841"/>
                <a:gd name="T2" fmla="*/ 3950 w 4234"/>
                <a:gd name="T3" fmla="*/ 5557 h 5841"/>
                <a:gd name="T4" fmla="*/ 3950 w 4234"/>
                <a:gd name="T5" fmla="*/ 1739 h 5841"/>
                <a:gd name="T6" fmla="*/ 3894 w 4234"/>
                <a:gd name="T7" fmla="*/ 1711 h 5841"/>
                <a:gd name="T8" fmla="*/ 2216 w 4234"/>
                <a:gd name="T9" fmla="*/ 331 h 5841"/>
                <a:gd name="T10" fmla="*/ 286 w 4234"/>
                <a:gd name="T11" fmla="*/ 1715 h 5841"/>
                <a:gd name="T12" fmla="*/ 284 w 4234"/>
                <a:gd name="T13" fmla="*/ 1716 h 5841"/>
                <a:gd name="T14" fmla="*/ 284 w 4234"/>
                <a:gd name="T15" fmla="*/ 5557 h 5841"/>
                <a:gd name="T16" fmla="*/ 4092 w 4234"/>
                <a:gd name="T17" fmla="*/ 5841 h 5841"/>
                <a:gd name="T18" fmla="*/ 142 w 4234"/>
                <a:gd name="T19" fmla="*/ 5841 h 5841"/>
                <a:gd name="T20" fmla="*/ 0 w 4234"/>
                <a:gd name="T21" fmla="*/ 5700 h 5841"/>
                <a:gd name="T22" fmla="*/ 0 w 4234"/>
                <a:gd name="T23" fmla="*/ 1599 h 5841"/>
                <a:gd name="T24" fmla="*/ 142 w 4234"/>
                <a:gd name="T25" fmla="*/ 1458 h 5841"/>
                <a:gd name="T26" fmla="*/ 158 w 4234"/>
                <a:gd name="T27" fmla="*/ 1458 h 5841"/>
                <a:gd name="T28" fmla="*/ 2139 w 4234"/>
                <a:gd name="T29" fmla="*/ 37 h 5841"/>
                <a:gd name="T30" fmla="*/ 2312 w 4234"/>
                <a:gd name="T31" fmla="*/ 43 h 5841"/>
                <a:gd name="T32" fmla="*/ 4030 w 4234"/>
                <a:gd name="T33" fmla="*/ 1456 h 5841"/>
                <a:gd name="T34" fmla="*/ 4082 w 4234"/>
                <a:gd name="T35" fmla="*/ 1452 h 5841"/>
                <a:gd name="T36" fmla="*/ 4189 w 4234"/>
                <a:gd name="T37" fmla="*/ 1490 h 5841"/>
                <a:gd name="T38" fmla="*/ 4234 w 4234"/>
                <a:gd name="T39" fmla="*/ 1594 h 5841"/>
                <a:gd name="T40" fmla="*/ 4234 w 4234"/>
                <a:gd name="T41" fmla="*/ 5700 h 5841"/>
                <a:gd name="T42" fmla="*/ 4092 w 4234"/>
                <a:gd name="T43" fmla="*/ 5841 h 5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34" h="5841">
                  <a:moveTo>
                    <a:pt x="284" y="5557"/>
                  </a:moveTo>
                  <a:lnTo>
                    <a:pt x="3950" y="5557"/>
                  </a:lnTo>
                  <a:lnTo>
                    <a:pt x="3950" y="1739"/>
                  </a:lnTo>
                  <a:cubicBezTo>
                    <a:pt x="3930" y="1734"/>
                    <a:pt x="3911" y="1724"/>
                    <a:pt x="3894" y="1711"/>
                  </a:cubicBezTo>
                  <a:lnTo>
                    <a:pt x="2216" y="331"/>
                  </a:lnTo>
                  <a:lnTo>
                    <a:pt x="286" y="1715"/>
                  </a:lnTo>
                  <a:cubicBezTo>
                    <a:pt x="285" y="1715"/>
                    <a:pt x="285" y="1715"/>
                    <a:pt x="284" y="1716"/>
                  </a:cubicBezTo>
                  <a:lnTo>
                    <a:pt x="284" y="5557"/>
                  </a:lnTo>
                  <a:close/>
                  <a:moveTo>
                    <a:pt x="4092" y="5841"/>
                  </a:moveTo>
                  <a:lnTo>
                    <a:pt x="142" y="5841"/>
                  </a:lnTo>
                  <a:cubicBezTo>
                    <a:pt x="64" y="5841"/>
                    <a:pt x="0" y="5778"/>
                    <a:pt x="0" y="5700"/>
                  </a:cubicBezTo>
                  <a:lnTo>
                    <a:pt x="0" y="1599"/>
                  </a:lnTo>
                  <a:cubicBezTo>
                    <a:pt x="0" y="1521"/>
                    <a:pt x="64" y="1458"/>
                    <a:pt x="142" y="1458"/>
                  </a:cubicBezTo>
                  <a:lnTo>
                    <a:pt x="158" y="1458"/>
                  </a:lnTo>
                  <a:lnTo>
                    <a:pt x="2139" y="37"/>
                  </a:lnTo>
                  <a:cubicBezTo>
                    <a:pt x="2192" y="0"/>
                    <a:pt x="2262" y="3"/>
                    <a:pt x="2312" y="43"/>
                  </a:cubicBezTo>
                  <a:lnTo>
                    <a:pt x="4030" y="1456"/>
                  </a:lnTo>
                  <a:lnTo>
                    <a:pt x="4082" y="1452"/>
                  </a:lnTo>
                  <a:cubicBezTo>
                    <a:pt x="4121" y="1449"/>
                    <a:pt x="4160" y="1463"/>
                    <a:pt x="4189" y="1490"/>
                  </a:cubicBezTo>
                  <a:cubicBezTo>
                    <a:pt x="4217" y="1517"/>
                    <a:pt x="4234" y="1554"/>
                    <a:pt x="4234" y="1594"/>
                  </a:cubicBezTo>
                  <a:lnTo>
                    <a:pt x="4234" y="5700"/>
                  </a:lnTo>
                  <a:cubicBezTo>
                    <a:pt x="4234" y="5778"/>
                    <a:pt x="4170" y="5841"/>
                    <a:pt x="4092" y="584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1355">
              <a:extLst>
                <a:ext uri="{FF2B5EF4-FFF2-40B4-BE49-F238E27FC236}">
                  <a16:creationId xmlns:a16="http://schemas.microsoft.com/office/drawing/2014/main" id="{408777CA-C7E9-405F-A4EC-1DC43D69CA8A}"/>
                </a:ext>
              </a:extLst>
            </p:cNvPr>
            <p:cNvSpPr>
              <a:spLocks/>
            </p:cNvSpPr>
            <p:nvPr/>
          </p:nvSpPr>
          <p:spPr bwMode="auto">
            <a:xfrm>
              <a:off x="4113213" y="2233613"/>
              <a:ext cx="314325" cy="20638"/>
            </a:xfrm>
            <a:custGeom>
              <a:avLst/>
              <a:gdLst>
                <a:gd name="T0" fmla="*/ 4309 w 4450"/>
                <a:gd name="T1" fmla="*/ 283 h 283"/>
                <a:gd name="T2" fmla="*/ 142 w 4450"/>
                <a:gd name="T3" fmla="*/ 283 h 283"/>
                <a:gd name="T4" fmla="*/ 0 w 4450"/>
                <a:gd name="T5" fmla="*/ 141 h 283"/>
                <a:gd name="T6" fmla="*/ 142 w 4450"/>
                <a:gd name="T7" fmla="*/ 0 h 283"/>
                <a:gd name="T8" fmla="*/ 4309 w 4450"/>
                <a:gd name="T9" fmla="*/ 0 h 283"/>
                <a:gd name="T10" fmla="*/ 4450 w 4450"/>
                <a:gd name="T11" fmla="*/ 141 h 283"/>
                <a:gd name="T12" fmla="*/ 4309 w 4450"/>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4450" h="283">
                  <a:moveTo>
                    <a:pt x="4309" y="283"/>
                  </a:moveTo>
                  <a:lnTo>
                    <a:pt x="142" y="283"/>
                  </a:lnTo>
                  <a:cubicBezTo>
                    <a:pt x="64" y="283"/>
                    <a:pt x="0" y="220"/>
                    <a:pt x="0" y="141"/>
                  </a:cubicBezTo>
                  <a:cubicBezTo>
                    <a:pt x="0" y="63"/>
                    <a:pt x="64" y="0"/>
                    <a:pt x="142" y="0"/>
                  </a:cubicBezTo>
                  <a:lnTo>
                    <a:pt x="4309" y="0"/>
                  </a:lnTo>
                  <a:cubicBezTo>
                    <a:pt x="4387" y="0"/>
                    <a:pt x="4450" y="63"/>
                    <a:pt x="4450" y="141"/>
                  </a:cubicBezTo>
                  <a:cubicBezTo>
                    <a:pt x="4450" y="220"/>
                    <a:pt x="4387" y="283"/>
                    <a:pt x="4309" y="2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reeform 1356">
              <a:extLst>
                <a:ext uri="{FF2B5EF4-FFF2-40B4-BE49-F238E27FC236}">
                  <a16:creationId xmlns:a16="http://schemas.microsoft.com/office/drawing/2014/main" id="{05C2A865-6EAF-4D5C-AED7-452CAD73A372}"/>
                </a:ext>
              </a:extLst>
            </p:cNvPr>
            <p:cNvSpPr>
              <a:spLocks/>
            </p:cNvSpPr>
            <p:nvPr/>
          </p:nvSpPr>
          <p:spPr bwMode="auto">
            <a:xfrm>
              <a:off x="3924301" y="2093913"/>
              <a:ext cx="20638" cy="57150"/>
            </a:xfrm>
            <a:custGeom>
              <a:avLst/>
              <a:gdLst>
                <a:gd name="T0" fmla="*/ 142 w 283"/>
                <a:gd name="T1" fmla="*/ 800 h 800"/>
                <a:gd name="T2" fmla="*/ 0 w 283"/>
                <a:gd name="T3" fmla="*/ 658 h 800"/>
                <a:gd name="T4" fmla="*/ 0 w 283"/>
                <a:gd name="T5" fmla="*/ 141 h 800"/>
                <a:gd name="T6" fmla="*/ 142 w 283"/>
                <a:gd name="T7" fmla="*/ 0 h 800"/>
                <a:gd name="T8" fmla="*/ 283 w 283"/>
                <a:gd name="T9" fmla="*/ 141 h 800"/>
                <a:gd name="T10" fmla="*/ 283 w 283"/>
                <a:gd name="T11" fmla="*/ 658 h 800"/>
                <a:gd name="T12" fmla="*/ 142 w 283"/>
                <a:gd name="T13" fmla="*/ 800 h 800"/>
              </a:gdLst>
              <a:ahLst/>
              <a:cxnLst>
                <a:cxn ang="0">
                  <a:pos x="T0" y="T1"/>
                </a:cxn>
                <a:cxn ang="0">
                  <a:pos x="T2" y="T3"/>
                </a:cxn>
                <a:cxn ang="0">
                  <a:pos x="T4" y="T5"/>
                </a:cxn>
                <a:cxn ang="0">
                  <a:pos x="T6" y="T7"/>
                </a:cxn>
                <a:cxn ang="0">
                  <a:pos x="T8" y="T9"/>
                </a:cxn>
                <a:cxn ang="0">
                  <a:pos x="T10" y="T11"/>
                </a:cxn>
                <a:cxn ang="0">
                  <a:pos x="T12" y="T13"/>
                </a:cxn>
              </a:cxnLst>
              <a:rect l="0" t="0" r="r" b="b"/>
              <a:pathLst>
                <a:path w="283" h="800">
                  <a:moveTo>
                    <a:pt x="142" y="800"/>
                  </a:moveTo>
                  <a:cubicBezTo>
                    <a:pt x="64" y="800"/>
                    <a:pt x="0" y="736"/>
                    <a:pt x="0" y="658"/>
                  </a:cubicBezTo>
                  <a:lnTo>
                    <a:pt x="0" y="141"/>
                  </a:lnTo>
                  <a:cubicBezTo>
                    <a:pt x="0" y="63"/>
                    <a:pt x="64" y="0"/>
                    <a:pt x="142" y="0"/>
                  </a:cubicBezTo>
                  <a:cubicBezTo>
                    <a:pt x="220" y="0"/>
                    <a:pt x="283" y="63"/>
                    <a:pt x="283" y="141"/>
                  </a:cubicBezTo>
                  <a:lnTo>
                    <a:pt x="283" y="658"/>
                  </a:lnTo>
                  <a:cubicBezTo>
                    <a:pt x="283" y="736"/>
                    <a:pt x="220" y="800"/>
                    <a:pt x="142" y="8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Freeform 1357">
              <a:extLst>
                <a:ext uri="{FF2B5EF4-FFF2-40B4-BE49-F238E27FC236}">
                  <a16:creationId xmlns:a16="http://schemas.microsoft.com/office/drawing/2014/main" id="{27010F50-5ADA-4EB9-953C-F5DB60A40B18}"/>
                </a:ext>
              </a:extLst>
            </p:cNvPr>
            <p:cNvSpPr>
              <a:spLocks/>
            </p:cNvSpPr>
            <p:nvPr/>
          </p:nvSpPr>
          <p:spPr bwMode="auto">
            <a:xfrm>
              <a:off x="4267201" y="2098675"/>
              <a:ext cx="20638" cy="52388"/>
            </a:xfrm>
            <a:custGeom>
              <a:avLst/>
              <a:gdLst>
                <a:gd name="T0" fmla="*/ 142 w 283"/>
                <a:gd name="T1" fmla="*/ 734 h 734"/>
                <a:gd name="T2" fmla="*/ 0 w 283"/>
                <a:gd name="T3" fmla="*/ 592 h 734"/>
                <a:gd name="T4" fmla="*/ 0 w 283"/>
                <a:gd name="T5" fmla="*/ 142 h 734"/>
                <a:gd name="T6" fmla="*/ 142 w 283"/>
                <a:gd name="T7" fmla="*/ 0 h 734"/>
                <a:gd name="T8" fmla="*/ 283 w 283"/>
                <a:gd name="T9" fmla="*/ 142 h 734"/>
                <a:gd name="T10" fmla="*/ 283 w 283"/>
                <a:gd name="T11" fmla="*/ 592 h 734"/>
                <a:gd name="T12" fmla="*/ 142 w 283"/>
                <a:gd name="T13" fmla="*/ 734 h 734"/>
              </a:gdLst>
              <a:ahLst/>
              <a:cxnLst>
                <a:cxn ang="0">
                  <a:pos x="T0" y="T1"/>
                </a:cxn>
                <a:cxn ang="0">
                  <a:pos x="T2" y="T3"/>
                </a:cxn>
                <a:cxn ang="0">
                  <a:pos x="T4" y="T5"/>
                </a:cxn>
                <a:cxn ang="0">
                  <a:pos x="T6" y="T7"/>
                </a:cxn>
                <a:cxn ang="0">
                  <a:pos x="T8" y="T9"/>
                </a:cxn>
                <a:cxn ang="0">
                  <a:pos x="T10" y="T11"/>
                </a:cxn>
                <a:cxn ang="0">
                  <a:pos x="T12" y="T13"/>
                </a:cxn>
              </a:cxnLst>
              <a:rect l="0" t="0" r="r" b="b"/>
              <a:pathLst>
                <a:path w="283" h="734">
                  <a:moveTo>
                    <a:pt x="142" y="734"/>
                  </a:moveTo>
                  <a:cubicBezTo>
                    <a:pt x="64" y="734"/>
                    <a:pt x="0" y="670"/>
                    <a:pt x="0" y="592"/>
                  </a:cubicBezTo>
                  <a:lnTo>
                    <a:pt x="0" y="142"/>
                  </a:lnTo>
                  <a:cubicBezTo>
                    <a:pt x="0" y="64"/>
                    <a:pt x="64" y="0"/>
                    <a:pt x="142" y="0"/>
                  </a:cubicBezTo>
                  <a:cubicBezTo>
                    <a:pt x="220" y="0"/>
                    <a:pt x="283" y="64"/>
                    <a:pt x="283" y="142"/>
                  </a:cubicBezTo>
                  <a:lnTo>
                    <a:pt x="283" y="592"/>
                  </a:lnTo>
                  <a:cubicBezTo>
                    <a:pt x="283" y="670"/>
                    <a:pt x="220" y="734"/>
                    <a:pt x="142" y="7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1358">
              <a:extLst>
                <a:ext uri="{FF2B5EF4-FFF2-40B4-BE49-F238E27FC236}">
                  <a16:creationId xmlns:a16="http://schemas.microsoft.com/office/drawing/2014/main" id="{1A764512-1730-4098-A51D-8F0EF72B000C}"/>
                </a:ext>
              </a:extLst>
            </p:cNvPr>
            <p:cNvSpPr>
              <a:spLocks/>
            </p:cNvSpPr>
            <p:nvPr/>
          </p:nvSpPr>
          <p:spPr bwMode="auto">
            <a:xfrm>
              <a:off x="3924301" y="2092325"/>
              <a:ext cx="363538" cy="20638"/>
            </a:xfrm>
            <a:custGeom>
              <a:avLst/>
              <a:gdLst>
                <a:gd name="T0" fmla="*/ 4991 w 5133"/>
                <a:gd name="T1" fmla="*/ 283 h 283"/>
                <a:gd name="T2" fmla="*/ 141 w 5133"/>
                <a:gd name="T3" fmla="*/ 283 h 283"/>
                <a:gd name="T4" fmla="*/ 0 w 5133"/>
                <a:gd name="T5" fmla="*/ 141 h 283"/>
                <a:gd name="T6" fmla="*/ 141 w 5133"/>
                <a:gd name="T7" fmla="*/ 0 h 283"/>
                <a:gd name="T8" fmla="*/ 4991 w 5133"/>
                <a:gd name="T9" fmla="*/ 0 h 283"/>
                <a:gd name="T10" fmla="*/ 5133 w 5133"/>
                <a:gd name="T11" fmla="*/ 141 h 283"/>
                <a:gd name="T12" fmla="*/ 4991 w 5133"/>
                <a:gd name="T13" fmla="*/ 283 h 283"/>
              </a:gdLst>
              <a:ahLst/>
              <a:cxnLst>
                <a:cxn ang="0">
                  <a:pos x="T0" y="T1"/>
                </a:cxn>
                <a:cxn ang="0">
                  <a:pos x="T2" y="T3"/>
                </a:cxn>
                <a:cxn ang="0">
                  <a:pos x="T4" y="T5"/>
                </a:cxn>
                <a:cxn ang="0">
                  <a:pos x="T6" y="T7"/>
                </a:cxn>
                <a:cxn ang="0">
                  <a:pos x="T8" y="T9"/>
                </a:cxn>
                <a:cxn ang="0">
                  <a:pos x="T10" y="T11"/>
                </a:cxn>
                <a:cxn ang="0">
                  <a:pos x="T12" y="T13"/>
                </a:cxn>
              </a:cxnLst>
              <a:rect l="0" t="0" r="r" b="b"/>
              <a:pathLst>
                <a:path w="5133" h="283">
                  <a:moveTo>
                    <a:pt x="4991" y="283"/>
                  </a:moveTo>
                  <a:lnTo>
                    <a:pt x="141" y="283"/>
                  </a:lnTo>
                  <a:cubicBezTo>
                    <a:pt x="63" y="283"/>
                    <a:pt x="0" y="220"/>
                    <a:pt x="0" y="141"/>
                  </a:cubicBezTo>
                  <a:cubicBezTo>
                    <a:pt x="0" y="63"/>
                    <a:pt x="63" y="0"/>
                    <a:pt x="141" y="0"/>
                  </a:cubicBezTo>
                  <a:lnTo>
                    <a:pt x="4991" y="0"/>
                  </a:lnTo>
                  <a:cubicBezTo>
                    <a:pt x="5070" y="0"/>
                    <a:pt x="5133" y="63"/>
                    <a:pt x="5133" y="141"/>
                  </a:cubicBezTo>
                  <a:cubicBezTo>
                    <a:pt x="5133" y="220"/>
                    <a:pt x="5070" y="283"/>
                    <a:pt x="4991"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Freeform 1359">
              <a:extLst>
                <a:ext uri="{FF2B5EF4-FFF2-40B4-BE49-F238E27FC236}">
                  <a16:creationId xmlns:a16="http://schemas.microsoft.com/office/drawing/2014/main" id="{C0A71571-33A7-4BB7-97E2-496330C968C2}"/>
                </a:ext>
              </a:extLst>
            </p:cNvPr>
            <p:cNvSpPr>
              <a:spLocks/>
            </p:cNvSpPr>
            <p:nvPr/>
          </p:nvSpPr>
          <p:spPr bwMode="auto">
            <a:xfrm>
              <a:off x="3829051"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1360">
              <a:extLst>
                <a:ext uri="{FF2B5EF4-FFF2-40B4-BE49-F238E27FC236}">
                  <a16:creationId xmlns:a16="http://schemas.microsoft.com/office/drawing/2014/main" id="{ED827432-1613-4226-AB70-C555933E72AC}"/>
                </a:ext>
              </a:extLst>
            </p:cNvPr>
            <p:cNvSpPr>
              <a:spLocks/>
            </p:cNvSpPr>
            <p:nvPr/>
          </p:nvSpPr>
          <p:spPr bwMode="auto">
            <a:xfrm>
              <a:off x="3884613"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Freeform 1361">
              <a:extLst>
                <a:ext uri="{FF2B5EF4-FFF2-40B4-BE49-F238E27FC236}">
                  <a16:creationId xmlns:a16="http://schemas.microsoft.com/office/drawing/2014/main" id="{6670811D-CD5F-40C3-9BBA-FA6552E8CFAC}"/>
                </a:ext>
              </a:extLst>
            </p:cNvPr>
            <p:cNvSpPr>
              <a:spLocks/>
            </p:cNvSpPr>
            <p:nvPr/>
          </p:nvSpPr>
          <p:spPr bwMode="auto">
            <a:xfrm>
              <a:off x="3937001"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Freeform 1362">
              <a:extLst>
                <a:ext uri="{FF2B5EF4-FFF2-40B4-BE49-F238E27FC236}">
                  <a16:creationId xmlns:a16="http://schemas.microsoft.com/office/drawing/2014/main" id="{38F83EEA-8670-4F16-84B7-367252C71007}"/>
                </a:ext>
              </a:extLst>
            </p:cNvPr>
            <p:cNvSpPr>
              <a:spLocks/>
            </p:cNvSpPr>
            <p:nvPr/>
          </p:nvSpPr>
          <p:spPr bwMode="auto">
            <a:xfrm>
              <a:off x="3997326"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Freeform 1363">
              <a:extLst>
                <a:ext uri="{FF2B5EF4-FFF2-40B4-BE49-F238E27FC236}">
                  <a16:creationId xmlns:a16="http://schemas.microsoft.com/office/drawing/2014/main" id="{8AA5AD12-F9A5-47BF-BF37-4FB1B8229F91}"/>
                </a:ext>
              </a:extLst>
            </p:cNvPr>
            <p:cNvSpPr>
              <a:spLocks/>
            </p:cNvSpPr>
            <p:nvPr/>
          </p:nvSpPr>
          <p:spPr bwMode="auto">
            <a:xfrm>
              <a:off x="4178301" y="2293938"/>
              <a:ext cx="20638" cy="250825"/>
            </a:xfrm>
            <a:custGeom>
              <a:avLst/>
              <a:gdLst>
                <a:gd name="T0" fmla="*/ 142 w 284"/>
                <a:gd name="T1" fmla="*/ 3550 h 3550"/>
                <a:gd name="T2" fmla="*/ 0 w 284"/>
                <a:gd name="T3" fmla="*/ 3409 h 3550"/>
                <a:gd name="T4" fmla="*/ 0 w 284"/>
                <a:gd name="T5" fmla="*/ 142 h 3550"/>
                <a:gd name="T6" fmla="*/ 142 w 284"/>
                <a:gd name="T7" fmla="*/ 0 h 3550"/>
                <a:gd name="T8" fmla="*/ 284 w 284"/>
                <a:gd name="T9" fmla="*/ 142 h 3550"/>
                <a:gd name="T10" fmla="*/ 284 w 284"/>
                <a:gd name="T11" fmla="*/ 3409 h 3550"/>
                <a:gd name="T12" fmla="*/ 142 w 284"/>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4" h="3550">
                  <a:moveTo>
                    <a:pt x="142" y="3550"/>
                  </a:moveTo>
                  <a:cubicBezTo>
                    <a:pt x="64" y="3550"/>
                    <a:pt x="0" y="3487"/>
                    <a:pt x="0" y="3409"/>
                  </a:cubicBezTo>
                  <a:lnTo>
                    <a:pt x="0" y="142"/>
                  </a:lnTo>
                  <a:cubicBezTo>
                    <a:pt x="0" y="64"/>
                    <a:pt x="64" y="0"/>
                    <a:pt x="142" y="0"/>
                  </a:cubicBezTo>
                  <a:cubicBezTo>
                    <a:pt x="220" y="0"/>
                    <a:pt x="284" y="64"/>
                    <a:pt x="284" y="142"/>
                  </a:cubicBezTo>
                  <a:lnTo>
                    <a:pt x="284" y="3409"/>
                  </a:lnTo>
                  <a:cubicBezTo>
                    <a:pt x="284"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1364">
              <a:extLst>
                <a:ext uri="{FF2B5EF4-FFF2-40B4-BE49-F238E27FC236}">
                  <a16:creationId xmlns:a16="http://schemas.microsoft.com/office/drawing/2014/main" id="{1E37C07E-0E05-4838-B593-3F53BFB2C080}"/>
                </a:ext>
              </a:extLst>
            </p:cNvPr>
            <p:cNvSpPr>
              <a:spLocks/>
            </p:cNvSpPr>
            <p:nvPr/>
          </p:nvSpPr>
          <p:spPr bwMode="auto">
            <a:xfrm>
              <a:off x="4233863" y="2293938"/>
              <a:ext cx="19050" cy="250825"/>
            </a:xfrm>
            <a:custGeom>
              <a:avLst/>
              <a:gdLst>
                <a:gd name="T0" fmla="*/ 141 w 283"/>
                <a:gd name="T1" fmla="*/ 3550 h 3550"/>
                <a:gd name="T2" fmla="*/ 0 w 283"/>
                <a:gd name="T3" fmla="*/ 3409 h 3550"/>
                <a:gd name="T4" fmla="*/ 0 w 283"/>
                <a:gd name="T5" fmla="*/ 142 h 3550"/>
                <a:gd name="T6" fmla="*/ 141 w 283"/>
                <a:gd name="T7" fmla="*/ 0 h 3550"/>
                <a:gd name="T8" fmla="*/ 283 w 283"/>
                <a:gd name="T9" fmla="*/ 142 h 3550"/>
                <a:gd name="T10" fmla="*/ 283 w 283"/>
                <a:gd name="T11" fmla="*/ 3409 h 3550"/>
                <a:gd name="T12" fmla="*/ 141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1" y="3550"/>
                  </a:moveTo>
                  <a:cubicBezTo>
                    <a:pt x="63" y="3550"/>
                    <a:pt x="0" y="3487"/>
                    <a:pt x="0" y="3409"/>
                  </a:cubicBezTo>
                  <a:lnTo>
                    <a:pt x="0" y="142"/>
                  </a:lnTo>
                  <a:cubicBezTo>
                    <a:pt x="0" y="64"/>
                    <a:pt x="63" y="0"/>
                    <a:pt x="141" y="0"/>
                  </a:cubicBezTo>
                  <a:cubicBezTo>
                    <a:pt x="220" y="0"/>
                    <a:pt x="283" y="64"/>
                    <a:pt x="283" y="142"/>
                  </a:cubicBezTo>
                  <a:lnTo>
                    <a:pt x="283" y="3409"/>
                  </a:lnTo>
                  <a:cubicBezTo>
                    <a:pt x="283" y="3487"/>
                    <a:pt x="220" y="3550"/>
                    <a:pt x="141"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Freeform 1365">
              <a:extLst>
                <a:ext uri="{FF2B5EF4-FFF2-40B4-BE49-F238E27FC236}">
                  <a16:creationId xmlns:a16="http://schemas.microsoft.com/office/drawing/2014/main" id="{5E9A6D6F-8449-40D8-B63E-1D1B2547256F}"/>
                </a:ext>
              </a:extLst>
            </p:cNvPr>
            <p:cNvSpPr>
              <a:spLocks/>
            </p:cNvSpPr>
            <p:nvPr/>
          </p:nvSpPr>
          <p:spPr bwMode="auto">
            <a:xfrm>
              <a:off x="4286251" y="2293938"/>
              <a:ext cx="19050"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Freeform 1366">
              <a:extLst>
                <a:ext uri="{FF2B5EF4-FFF2-40B4-BE49-F238E27FC236}">
                  <a16:creationId xmlns:a16="http://schemas.microsoft.com/office/drawing/2014/main" id="{435D8832-B5C7-4536-AD01-B3F44A84F81E}"/>
                </a:ext>
              </a:extLst>
            </p:cNvPr>
            <p:cNvSpPr>
              <a:spLocks/>
            </p:cNvSpPr>
            <p:nvPr/>
          </p:nvSpPr>
          <p:spPr bwMode="auto">
            <a:xfrm>
              <a:off x="4344988" y="2293938"/>
              <a:ext cx="20638" cy="250825"/>
            </a:xfrm>
            <a:custGeom>
              <a:avLst/>
              <a:gdLst>
                <a:gd name="T0" fmla="*/ 142 w 283"/>
                <a:gd name="T1" fmla="*/ 3550 h 3550"/>
                <a:gd name="T2" fmla="*/ 0 w 283"/>
                <a:gd name="T3" fmla="*/ 3409 h 3550"/>
                <a:gd name="T4" fmla="*/ 0 w 283"/>
                <a:gd name="T5" fmla="*/ 142 h 3550"/>
                <a:gd name="T6" fmla="*/ 142 w 283"/>
                <a:gd name="T7" fmla="*/ 0 h 3550"/>
                <a:gd name="T8" fmla="*/ 283 w 283"/>
                <a:gd name="T9" fmla="*/ 142 h 3550"/>
                <a:gd name="T10" fmla="*/ 283 w 283"/>
                <a:gd name="T11" fmla="*/ 3409 h 3550"/>
                <a:gd name="T12" fmla="*/ 142 w 283"/>
                <a:gd name="T13" fmla="*/ 3550 h 3550"/>
              </a:gdLst>
              <a:ahLst/>
              <a:cxnLst>
                <a:cxn ang="0">
                  <a:pos x="T0" y="T1"/>
                </a:cxn>
                <a:cxn ang="0">
                  <a:pos x="T2" y="T3"/>
                </a:cxn>
                <a:cxn ang="0">
                  <a:pos x="T4" y="T5"/>
                </a:cxn>
                <a:cxn ang="0">
                  <a:pos x="T6" y="T7"/>
                </a:cxn>
                <a:cxn ang="0">
                  <a:pos x="T8" y="T9"/>
                </a:cxn>
                <a:cxn ang="0">
                  <a:pos x="T10" y="T11"/>
                </a:cxn>
                <a:cxn ang="0">
                  <a:pos x="T12" y="T13"/>
                </a:cxn>
              </a:cxnLst>
              <a:rect l="0" t="0" r="r" b="b"/>
              <a:pathLst>
                <a:path w="283" h="3550">
                  <a:moveTo>
                    <a:pt x="142" y="3550"/>
                  </a:moveTo>
                  <a:cubicBezTo>
                    <a:pt x="64" y="3550"/>
                    <a:pt x="0" y="3487"/>
                    <a:pt x="0" y="3409"/>
                  </a:cubicBezTo>
                  <a:lnTo>
                    <a:pt x="0" y="142"/>
                  </a:lnTo>
                  <a:cubicBezTo>
                    <a:pt x="0" y="64"/>
                    <a:pt x="64" y="0"/>
                    <a:pt x="142" y="0"/>
                  </a:cubicBezTo>
                  <a:cubicBezTo>
                    <a:pt x="220" y="0"/>
                    <a:pt x="283" y="64"/>
                    <a:pt x="283" y="142"/>
                  </a:cubicBezTo>
                  <a:lnTo>
                    <a:pt x="283" y="3409"/>
                  </a:lnTo>
                  <a:cubicBezTo>
                    <a:pt x="283" y="3487"/>
                    <a:pt x="220" y="3550"/>
                    <a:pt x="142" y="35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139" name="Straight Connector 138">
            <a:extLst>
              <a:ext uri="{FF2B5EF4-FFF2-40B4-BE49-F238E27FC236}">
                <a16:creationId xmlns:a16="http://schemas.microsoft.com/office/drawing/2014/main" id="{EF520228-286C-4C76-A329-086113368521}"/>
              </a:ext>
            </a:extLst>
          </p:cNvPr>
          <p:cNvCxnSpPr>
            <a:cxnSpLocks/>
          </p:cNvCxnSpPr>
          <p:nvPr/>
        </p:nvCxnSpPr>
        <p:spPr>
          <a:xfrm flipV="1">
            <a:off x="9722198" y="1975042"/>
            <a:ext cx="117127" cy="28811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89FF4885-6F17-4DFB-9942-8A1E96D569B5}"/>
              </a:ext>
            </a:extLst>
          </p:cNvPr>
          <p:cNvSpPr txBox="1"/>
          <p:nvPr/>
        </p:nvSpPr>
        <p:spPr>
          <a:xfrm rot="21406866">
            <a:off x="4678354" y="995363"/>
            <a:ext cx="3317330" cy="923330"/>
          </a:xfrm>
          <a:prstGeom prst="rect">
            <a:avLst/>
          </a:prstGeom>
          <a:noFill/>
          <a:ln w="12700">
            <a:solidFill>
              <a:schemeClr val="bg1"/>
            </a:solidFill>
            <a:prstDash val="lgDash"/>
          </a:ln>
        </p:spPr>
        <p:txBody>
          <a:bodyPr wrap="square" rtlCol="0">
            <a:spAutoFit/>
          </a:bodyPr>
          <a:lstStyle/>
          <a:p>
            <a:pPr algn="just"/>
            <a:r>
              <a:rPr lang="en-SG" dirty="0">
                <a:solidFill>
                  <a:schemeClr val="bg1"/>
                </a:solidFill>
                <a:latin typeface="Quicksand Light" panose="02070303000000060000" pitchFamily="18" charset="0"/>
              </a:rPr>
              <a:t>Auto sorting &amp; dispensing mechanism, equipped with buzzer alert feature</a:t>
            </a:r>
          </a:p>
        </p:txBody>
      </p:sp>
    </p:spTree>
    <p:extLst>
      <p:ext uri="{BB962C8B-B14F-4D97-AF65-F5344CB8AC3E}">
        <p14:creationId xmlns:p14="http://schemas.microsoft.com/office/powerpoint/2010/main" val="24123766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66"/>
                                        </p:tgtEl>
                                      </p:cBhvr>
                                    </p:animEffect>
                                    <p:set>
                                      <p:cBhvr>
                                        <p:cTn id="7" dur="1" fill="hold">
                                          <p:stCondLst>
                                            <p:cond delay="499"/>
                                          </p:stCondLst>
                                        </p:cTn>
                                        <p:tgtEl>
                                          <p:spTgt spid="66"/>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20"/>
                                        </p:tgtEl>
                                      </p:cBhvr>
                                    </p:animEffect>
                                    <p:set>
                                      <p:cBhvr>
                                        <p:cTn id="10" dur="1" fill="hold">
                                          <p:stCondLst>
                                            <p:cond delay="499"/>
                                          </p:stCondLst>
                                        </p:cTn>
                                        <p:tgtEl>
                                          <p:spTgt spid="120"/>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40"/>
                                        </p:tgtEl>
                                      </p:cBhvr>
                                    </p:animEffect>
                                    <p:set>
                                      <p:cBhvr>
                                        <p:cTn id="13" dur="1" fill="hold">
                                          <p:stCondLst>
                                            <p:cond delay="499"/>
                                          </p:stCondLst>
                                        </p:cTn>
                                        <p:tgtEl>
                                          <p:spTgt spid="140"/>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91"/>
                                        </p:tgtEl>
                                        <p:attrNameLst>
                                          <p:attrName>style.visibility</p:attrName>
                                        </p:attrNameLst>
                                      </p:cBhvr>
                                      <p:to>
                                        <p:strVal val="visible"/>
                                      </p:to>
                                    </p:set>
                                    <p:animEffect transition="in" filter="fade">
                                      <p:cBhvr>
                                        <p:cTn id="17" dur="500"/>
                                        <p:tgtEl>
                                          <p:spTgt spid="91"/>
                                        </p:tgtEl>
                                      </p:cBhvr>
                                    </p:animEffect>
                                  </p:childTnLst>
                                </p:cTn>
                              </p:par>
                              <p:par>
                                <p:cTn id="18" presetID="10" presetClass="entr" presetSubtype="0" fill="hold" nodeType="withEffect">
                                  <p:stCondLst>
                                    <p:cond delay="0"/>
                                  </p:stCondLst>
                                  <p:childTnLst>
                                    <p:set>
                                      <p:cBhvr>
                                        <p:cTn id="19" dur="1" fill="hold">
                                          <p:stCondLst>
                                            <p:cond delay="0"/>
                                          </p:stCondLst>
                                        </p:cTn>
                                        <p:tgtEl>
                                          <p:spTgt spid="139"/>
                                        </p:tgtEl>
                                        <p:attrNameLst>
                                          <p:attrName>style.visibility</p:attrName>
                                        </p:attrNameLst>
                                      </p:cBhvr>
                                      <p:to>
                                        <p:strVal val="visible"/>
                                      </p:to>
                                    </p:set>
                                    <p:animEffect transition="in" filter="fade">
                                      <p:cBhvr>
                                        <p:cTn id="20" dur="500"/>
                                        <p:tgtEl>
                                          <p:spTgt spid="13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8"/>
                                        </p:tgtEl>
                                        <p:attrNameLst>
                                          <p:attrName>style.visibility</p:attrName>
                                        </p:attrNameLst>
                                      </p:cBhvr>
                                      <p:to>
                                        <p:strVal val="visible"/>
                                      </p:to>
                                    </p:set>
                                    <p:animEffect transition="in" filter="fade">
                                      <p:cBhvr>
                                        <p:cTn id="23" dur="500"/>
                                        <p:tgtEl>
                                          <p:spTgt spid="6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nodeType="clickEffect">
                                  <p:stCondLst>
                                    <p:cond delay="0"/>
                                  </p:stCondLst>
                                  <p:childTnLst>
                                    <p:animEffect transition="out" filter="fade">
                                      <p:cBhvr>
                                        <p:cTn id="27" dur="500"/>
                                        <p:tgtEl>
                                          <p:spTgt spid="91"/>
                                        </p:tgtEl>
                                      </p:cBhvr>
                                    </p:animEffect>
                                    <p:set>
                                      <p:cBhvr>
                                        <p:cTn id="28" dur="1" fill="hold">
                                          <p:stCondLst>
                                            <p:cond delay="499"/>
                                          </p:stCondLst>
                                        </p:cTn>
                                        <p:tgtEl>
                                          <p:spTgt spid="91"/>
                                        </p:tgtEl>
                                        <p:attrNameLst>
                                          <p:attrName>style.visibility</p:attrName>
                                        </p:attrNameLst>
                                      </p:cBhvr>
                                      <p:to>
                                        <p:strVal val="hidden"/>
                                      </p:to>
                                    </p:set>
                                  </p:childTnLst>
                                </p:cTn>
                              </p:par>
                              <p:par>
                                <p:cTn id="29" presetID="10" presetClass="exit" presetSubtype="0" fill="hold" nodeType="withEffect">
                                  <p:stCondLst>
                                    <p:cond delay="0"/>
                                  </p:stCondLst>
                                  <p:childTnLst>
                                    <p:animEffect transition="out" filter="fade">
                                      <p:cBhvr>
                                        <p:cTn id="30" dur="500"/>
                                        <p:tgtEl>
                                          <p:spTgt spid="139"/>
                                        </p:tgtEl>
                                      </p:cBhvr>
                                    </p:animEffect>
                                    <p:set>
                                      <p:cBhvr>
                                        <p:cTn id="31" dur="1" fill="hold">
                                          <p:stCondLst>
                                            <p:cond delay="499"/>
                                          </p:stCondLst>
                                        </p:cTn>
                                        <p:tgtEl>
                                          <p:spTgt spid="139"/>
                                        </p:tgtEl>
                                        <p:attrNameLst>
                                          <p:attrName>style.visibility</p:attrName>
                                        </p:attrNameLst>
                                      </p:cBhvr>
                                      <p:to>
                                        <p:strVal val="hidden"/>
                                      </p:to>
                                    </p:set>
                                  </p:childTnLst>
                                </p:cTn>
                              </p:par>
                              <p:par>
                                <p:cTn id="32" presetID="10" presetClass="exit" presetSubtype="0" fill="hold" grpId="1" nodeType="withEffect">
                                  <p:stCondLst>
                                    <p:cond delay="0"/>
                                  </p:stCondLst>
                                  <p:childTnLst>
                                    <p:animEffect transition="out" filter="fade">
                                      <p:cBhvr>
                                        <p:cTn id="33" dur="500"/>
                                        <p:tgtEl>
                                          <p:spTgt spid="68"/>
                                        </p:tgtEl>
                                      </p:cBhvr>
                                    </p:animEffect>
                                    <p:set>
                                      <p:cBhvr>
                                        <p:cTn id="34" dur="1" fill="hold">
                                          <p:stCondLst>
                                            <p:cond delay="499"/>
                                          </p:stCondLst>
                                        </p:cTn>
                                        <p:tgtEl>
                                          <p:spTgt spid="6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68" grpId="1" animBg="1"/>
      <p:bldP spid="14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D0EFE246-7020-4BA5-BA0D-460C32156227}"/>
              </a:ext>
            </a:extLst>
          </p:cNvPr>
          <p:cNvGrpSpPr/>
          <p:nvPr/>
        </p:nvGrpSpPr>
        <p:grpSpPr>
          <a:xfrm>
            <a:off x="907198" y="3591820"/>
            <a:ext cx="10294336" cy="1969227"/>
            <a:chOff x="907198" y="2144020"/>
            <a:chExt cx="10294336" cy="1969227"/>
          </a:xfrm>
        </p:grpSpPr>
        <p:cxnSp>
          <p:nvCxnSpPr>
            <p:cNvPr id="14" name="Straight Connector 13">
              <a:extLst>
                <a:ext uri="{FF2B5EF4-FFF2-40B4-BE49-F238E27FC236}">
                  <a16:creationId xmlns:a16="http://schemas.microsoft.com/office/drawing/2014/main" id="{A0590206-0ED7-4C9C-A08F-015B611652EF}"/>
                </a:ext>
              </a:extLst>
            </p:cNvPr>
            <p:cNvCxnSpPr>
              <a:cxnSpLocks/>
            </p:cNvCxnSpPr>
            <p:nvPr/>
          </p:nvCxnSpPr>
          <p:spPr>
            <a:xfrm>
              <a:off x="2598211" y="2617938"/>
              <a:ext cx="8324485" cy="0"/>
            </a:xfrm>
            <a:prstGeom prst="line">
              <a:avLst/>
            </a:prstGeom>
            <a:ln w="28575">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3C2B16DD-F023-4029-9C7E-B906517F9E25}"/>
                </a:ext>
              </a:extLst>
            </p:cNvPr>
            <p:cNvSpPr txBox="1">
              <a:spLocks/>
            </p:cNvSpPr>
            <p:nvPr/>
          </p:nvSpPr>
          <p:spPr>
            <a:xfrm>
              <a:off x="2057534" y="2724839"/>
              <a:ext cx="9144000" cy="1388408"/>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SG" sz="11500" dirty="0">
                  <a:solidFill>
                    <a:schemeClr val="bg1"/>
                  </a:solidFill>
                  <a:latin typeface="Bebas Neue" panose="020B0606020202050201" pitchFamily="34" charset="0"/>
                </a:rPr>
                <a:t>Our user storyboard</a:t>
              </a:r>
            </a:p>
          </p:txBody>
        </p:sp>
        <p:cxnSp>
          <p:nvCxnSpPr>
            <p:cNvPr id="15" name="Straight Connector 14">
              <a:extLst>
                <a:ext uri="{FF2B5EF4-FFF2-40B4-BE49-F238E27FC236}">
                  <a16:creationId xmlns:a16="http://schemas.microsoft.com/office/drawing/2014/main" id="{E78CEFD2-5E9F-4E60-B9FC-12B5E4410B92}"/>
                </a:ext>
              </a:extLst>
            </p:cNvPr>
            <p:cNvCxnSpPr>
              <a:cxnSpLocks/>
            </p:cNvCxnSpPr>
            <p:nvPr/>
          </p:nvCxnSpPr>
          <p:spPr>
            <a:xfrm>
              <a:off x="1671284" y="3860105"/>
              <a:ext cx="9251412" cy="0"/>
            </a:xfrm>
            <a:prstGeom prst="line">
              <a:avLst/>
            </a:prstGeom>
            <a:ln w="28575">
              <a:solidFill>
                <a:schemeClr val="bg1"/>
              </a:solidFill>
              <a:prstDash val="lgDash"/>
            </a:ln>
          </p:spPr>
          <p:style>
            <a:lnRef idx="1">
              <a:schemeClr val="accent1"/>
            </a:lnRef>
            <a:fillRef idx="0">
              <a:schemeClr val="accent1"/>
            </a:fillRef>
            <a:effectRef idx="0">
              <a:schemeClr val="accent1"/>
            </a:effectRef>
            <a:fontRef idx="minor">
              <a:schemeClr val="tx1"/>
            </a:fontRef>
          </p:style>
        </p:cxnSp>
        <p:grpSp>
          <p:nvGrpSpPr>
            <p:cNvPr id="5" name="Gears" descr="{&quot;Key&quot;:&quot;POWER_USER_SHAPE_ICON&quot;,&quot;Value&quot;:&quot;POWER_USER_SHAPE_ICON_STYLE_1&quot;}">
              <a:extLst>
                <a:ext uri="{FF2B5EF4-FFF2-40B4-BE49-F238E27FC236}">
                  <a16:creationId xmlns:a16="http://schemas.microsoft.com/office/drawing/2014/main" id="{A54A2B0A-6E38-455B-9231-C304C62E2DA1}"/>
                </a:ext>
              </a:extLst>
            </p:cNvPr>
            <p:cNvGrpSpPr>
              <a:grpSpLocks noChangeAspect="1"/>
            </p:cNvGrpSpPr>
            <p:nvPr>
              <p:custDataLst>
                <p:tags r:id="rId1"/>
              </p:custDataLst>
            </p:nvPr>
          </p:nvGrpSpPr>
          <p:grpSpPr bwMode="auto">
            <a:xfrm>
              <a:off x="907198" y="2144020"/>
              <a:ext cx="1797902" cy="1918567"/>
              <a:chOff x="8" y="8"/>
              <a:chExt cx="447" cy="477"/>
            </a:xfrm>
            <a:solidFill>
              <a:schemeClr val="bg1"/>
            </a:solidFill>
          </p:grpSpPr>
          <p:sp>
            <p:nvSpPr>
              <p:cNvPr id="6" name="Gears">
                <a:extLst>
                  <a:ext uri="{FF2B5EF4-FFF2-40B4-BE49-F238E27FC236}">
                    <a16:creationId xmlns:a16="http://schemas.microsoft.com/office/drawing/2014/main" id="{297E917E-D446-46B9-BE36-0309ACCA96CB}"/>
                  </a:ext>
                </a:extLst>
              </p:cNvPr>
              <p:cNvSpPr>
                <a:spLocks noEditPoints="1"/>
              </p:cNvSpPr>
              <p:nvPr>
                <p:custDataLst>
                  <p:tags r:id="rId2"/>
                </p:custDataLst>
              </p:nvPr>
            </p:nvSpPr>
            <p:spPr bwMode="auto">
              <a:xfrm>
                <a:off x="209" y="8"/>
                <a:ext cx="246" cy="246"/>
              </a:xfrm>
              <a:custGeom>
                <a:avLst/>
                <a:gdLst>
                  <a:gd name="T0" fmla="*/ 569 w 630"/>
                  <a:gd name="T1" fmla="*/ 128 h 630"/>
                  <a:gd name="T2" fmla="*/ 501 w 630"/>
                  <a:gd name="T3" fmla="*/ 63 h 630"/>
                  <a:gd name="T4" fmla="*/ 415 w 630"/>
                  <a:gd name="T5" fmla="*/ 101 h 630"/>
                  <a:gd name="T6" fmla="*/ 372 w 630"/>
                  <a:gd name="T7" fmla="*/ 86 h 630"/>
                  <a:gd name="T8" fmla="*/ 325 w 630"/>
                  <a:gd name="T9" fmla="*/ 0 h 630"/>
                  <a:gd name="T10" fmla="*/ 305 w 630"/>
                  <a:gd name="T11" fmla="*/ 0 h 630"/>
                  <a:gd name="T12" fmla="*/ 262 w 630"/>
                  <a:gd name="T13" fmla="*/ 85 h 630"/>
                  <a:gd name="T14" fmla="*/ 245 w 630"/>
                  <a:gd name="T15" fmla="*/ 89 h 630"/>
                  <a:gd name="T16" fmla="*/ 191 w 630"/>
                  <a:gd name="T17" fmla="*/ 114 h 630"/>
                  <a:gd name="T18" fmla="*/ 127 w 630"/>
                  <a:gd name="T19" fmla="*/ 61 h 630"/>
                  <a:gd name="T20" fmla="*/ 91 w 630"/>
                  <a:gd name="T21" fmla="*/ 94 h 630"/>
                  <a:gd name="T22" fmla="*/ 62 w 630"/>
                  <a:gd name="T23" fmla="*/ 129 h 630"/>
                  <a:gd name="T24" fmla="*/ 100 w 630"/>
                  <a:gd name="T25" fmla="*/ 215 h 630"/>
                  <a:gd name="T26" fmla="*/ 85 w 630"/>
                  <a:gd name="T27" fmla="*/ 260 h 630"/>
                  <a:gd name="T28" fmla="*/ 0 w 630"/>
                  <a:gd name="T29" fmla="*/ 308 h 630"/>
                  <a:gd name="T30" fmla="*/ 85 w 630"/>
                  <a:gd name="T31" fmla="*/ 370 h 630"/>
                  <a:gd name="T32" fmla="*/ 100 w 630"/>
                  <a:gd name="T33" fmla="*/ 416 h 630"/>
                  <a:gd name="T34" fmla="*/ 64 w 630"/>
                  <a:gd name="T35" fmla="*/ 504 h 630"/>
                  <a:gd name="T36" fmla="*/ 131 w 630"/>
                  <a:gd name="T37" fmla="*/ 570 h 630"/>
                  <a:gd name="T38" fmla="*/ 193 w 630"/>
                  <a:gd name="T39" fmla="*/ 519 h 630"/>
                  <a:gd name="T40" fmla="*/ 248 w 630"/>
                  <a:gd name="T41" fmla="*/ 543 h 630"/>
                  <a:gd name="T42" fmla="*/ 270 w 630"/>
                  <a:gd name="T43" fmla="*/ 628 h 630"/>
                  <a:gd name="T44" fmla="*/ 324 w 630"/>
                  <a:gd name="T45" fmla="*/ 630 h 630"/>
                  <a:gd name="T46" fmla="*/ 372 w 630"/>
                  <a:gd name="T47" fmla="*/ 545 h 630"/>
                  <a:gd name="T48" fmla="*/ 384 w 630"/>
                  <a:gd name="T49" fmla="*/ 541 h 630"/>
                  <a:gd name="T50" fmla="*/ 441 w 630"/>
                  <a:gd name="T51" fmla="*/ 515 h 630"/>
                  <a:gd name="T52" fmla="*/ 505 w 630"/>
                  <a:gd name="T53" fmla="*/ 568 h 630"/>
                  <a:gd name="T54" fmla="*/ 538 w 630"/>
                  <a:gd name="T55" fmla="*/ 538 h 630"/>
                  <a:gd name="T56" fmla="*/ 518 w 630"/>
                  <a:gd name="T57" fmla="*/ 438 h 630"/>
                  <a:gd name="T58" fmla="*/ 530 w 630"/>
                  <a:gd name="T59" fmla="*/ 415 h 630"/>
                  <a:gd name="T60" fmla="*/ 542 w 630"/>
                  <a:gd name="T61" fmla="*/ 383 h 630"/>
                  <a:gd name="T62" fmla="*/ 626 w 630"/>
                  <a:gd name="T63" fmla="*/ 364 h 630"/>
                  <a:gd name="T64" fmla="*/ 630 w 630"/>
                  <a:gd name="T65" fmla="*/ 315 h 630"/>
                  <a:gd name="T66" fmla="*/ 626 w 630"/>
                  <a:gd name="T67" fmla="*/ 268 h 630"/>
                  <a:gd name="T68" fmla="*/ 542 w 630"/>
                  <a:gd name="T69" fmla="*/ 249 h 630"/>
                  <a:gd name="T70" fmla="*/ 517 w 630"/>
                  <a:gd name="T71" fmla="*/ 191 h 630"/>
                  <a:gd name="T72" fmla="*/ 235 w 630"/>
                  <a:gd name="T73" fmla="*/ 233 h 630"/>
                  <a:gd name="T74" fmla="*/ 399 w 630"/>
                  <a:gd name="T75" fmla="*/ 233 h 630"/>
                  <a:gd name="T76" fmla="*/ 399 w 630"/>
                  <a:gd name="T77" fmla="*/ 396 h 630"/>
                  <a:gd name="T78" fmla="*/ 235 w 630"/>
                  <a:gd name="T79" fmla="*/ 396 h 630"/>
                  <a:gd name="T80" fmla="*/ 235 w 630"/>
                  <a:gd name="T81" fmla="*/ 233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0" h="630">
                    <a:moveTo>
                      <a:pt x="569" y="129"/>
                    </a:moveTo>
                    <a:lnTo>
                      <a:pt x="569" y="128"/>
                    </a:lnTo>
                    <a:cubicBezTo>
                      <a:pt x="550" y="103"/>
                      <a:pt x="527" y="81"/>
                      <a:pt x="501" y="61"/>
                    </a:cubicBezTo>
                    <a:lnTo>
                      <a:pt x="501" y="63"/>
                    </a:lnTo>
                    <a:cubicBezTo>
                      <a:pt x="480" y="79"/>
                      <a:pt x="458" y="96"/>
                      <a:pt x="438" y="114"/>
                    </a:cubicBezTo>
                    <a:cubicBezTo>
                      <a:pt x="430" y="109"/>
                      <a:pt x="422" y="105"/>
                      <a:pt x="415" y="101"/>
                    </a:cubicBezTo>
                    <a:cubicBezTo>
                      <a:pt x="405" y="96"/>
                      <a:pt x="395" y="91"/>
                      <a:pt x="383" y="89"/>
                    </a:cubicBezTo>
                    <a:cubicBezTo>
                      <a:pt x="380" y="88"/>
                      <a:pt x="376" y="86"/>
                      <a:pt x="372" y="86"/>
                    </a:cubicBezTo>
                    <a:cubicBezTo>
                      <a:pt x="370" y="59"/>
                      <a:pt x="367" y="31"/>
                      <a:pt x="363" y="4"/>
                    </a:cubicBezTo>
                    <a:cubicBezTo>
                      <a:pt x="351" y="1"/>
                      <a:pt x="338" y="1"/>
                      <a:pt x="325" y="0"/>
                    </a:cubicBezTo>
                    <a:lnTo>
                      <a:pt x="315" y="0"/>
                    </a:lnTo>
                    <a:lnTo>
                      <a:pt x="305" y="0"/>
                    </a:lnTo>
                    <a:cubicBezTo>
                      <a:pt x="292" y="1"/>
                      <a:pt x="281" y="1"/>
                      <a:pt x="270" y="4"/>
                    </a:cubicBezTo>
                    <a:cubicBezTo>
                      <a:pt x="266" y="30"/>
                      <a:pt x="263" y="57"/>
                      <a:pt x="262" y="85"/>
                    </a:cubicBezTo>
                    <a:cubicBezTo>
                      <a:pt x="257" y="85"/>
                      <a:pt x="253" y="86"/>
                      <a:pt x="248" y="88"/>
                    </a:cubicBezTo>
                    <a:cubicBezTo>
                      <a:pt x="247" y="88"/>
                      <a:pt x="246" y="88"/>
                      <a:pt x="245" y="89"/>
                    </a:cubicBezTo>
                    <a:cubicBezTo>
                      <a:pt x="235" y="91"/>
                      <a:pt x="225" y="96"/>
                      <a:pt x="215" y="101"/>
                    </a:cubicBezTo>
                    <a:cubicBezTo>
                      <a:pt x="206" y="105"/>
                      <a:pt x="198" y="109"/>
                      <a:pt x="191" y="114"/>
                    </a:cubicBezTo>
                    <a:cubicBezTo>
                      <a:pt x="170" y="96"/>
                      <a:pt x="150" y="80"/>
                      <a:pt x="128" y="63"/>
                    </a:cubicBezTo>
                    <a:lnTo>
                      <a:pt x="127" y="61"/>
                    </a:lnTo>
                    <a:cubicBezTo>
                      <a:pt x="122" y="65"/>
                      <a:pt x="117" y="69"/>
                      <a:pt x="113" y="73"/>
                    </a:cubicBezTo>
                    <a:cubicBezTo>
                      <a:pt x="105" y="79"/>
                      <a:pt x="97" y="86"/>
                      <a:pt x="91" y="94"/>
                    </a:cubicBezTo>
                    <a:cubicBezTo>
                      <a:pt x="80" y="104"/>
                      <a:pt x="71" y="116"/>
                      <a:pt x="61" y="129"/>
                    </a:cubicBezTo>
                    <a:lnTo>
                      <a:pt x="62" y="129"/>
                    </a:lnTo>
                    <a:cubicBezTo>
                      <a:pt x="78" y="150"/>
                      <a:pt x="96" y="170"/>
                      <a:pt x="114" y="191"/>
                    </a:cubicBezTo>
                    <a:cubicBezTo>
                      <a:pt x="109" y="199"/>
                      <a:pt x="104" y="208"/>
                      <a:pt x="100" y="215"/>
                    </a:cubicBezTo>
                    <a:cubicBezTo>
                      <a:pt x="95" y="225"/>
                      <a:pt x="91" y="236"/>
                      <a:pt x="89" y="246"/>
                    </a:cubicBezTo>
                    <a:cubicBezTo>
                      <a:pt x="86" y="251"/>
                      <a:pt x="85" y="256"/>
                      <a:pt x="85" y="260"/>
                    </a:cubicBezTo>
                    <a:cubicBezTo>
                      <a:pt x="57" y="263"/>
                      <a:pt x="30" y="265"/>
                      <a:pt x="4" y="269"/>
                    </a:cubicBezTo>
                    <a:cubicBezTo>
                      <a:pt x="1" y="281"/>
                      <a:pt x="0" y="294"/>
                      <a:pt x="0" y="308"/>
                    </a:cubicBezTo>
                    <a:cubicBezTo>
                      <a:pt x="0" y="326"/>
                      <a:pt x="1" y="345"/>
                      <a:pt x="5" y="363"/>
                    </a:cubicBezTo>
                    <a:cubicBezTo>
                      <a:pt x="31" y="365"/>
                      <a:pt x="57" y="368"/>
                      <a:pt x="85" y="370"/>
                    </a:cubicBezTo>
                    <a:cubicBezTo>
                      <a:pt x="85" y="375"/>
                      <a:pt x="86" y="380"/>
                      <a:pt x="89" y="384"/>
                    </a:cubicBezTo>
                    <a:cubicBezTo>
                      <a:pt x="91" y="395"/>
                      <a:pt x="95" y="405"/>
                      <a:pt x="100" y="416"/>
                    </a:cubicBezTo>
                    <a:cubicBezTo>
                      <a:pt x="105" y="425"/>
                      <a:pt x="109" y="434"/>
                      <a:pt x="115" y="441"/>
                    </a:cubicBezTo>
                    <a:cubicBezTo>
                      <a:pt x="97" y="463"/>
                      <a:pt x="80" y="483"/>
                      <a:pt x="64" y="504"/>
                    </a:cubicBezTo>
                    <a:cubicBezTo>
                      <a:pt x="82" y="530"/>
                      <a:pt x="105" y="553"/>
                      <a:pt x="131" y="571"/>
                    </a:cubicBezTo>
                    <a:lnTo>
                      <a:pt x="131" y="570"/>
                    </a:lnTo>
                    <a:cubicBezTo>
                      <a:pt x="151" y="554"/>
                      <a:pt x="172" y="536"/>
                      <a:pt x="192" y="519"/>
                    </a:cubicBezTo>
                    <a:lnTo>
                      <a:pt x="193" y="519"/>
                    </a:lnTo>
                    <a:cubicBezTo>
                      <a:pt x="200" y="523"/>
                      <a:pt x="207" y="526"/>
                      <a:pt x="214" y="530"/>
                    </a:cubicBezTo>
                    <a:cubicBezTo>
                      <a:pt x="225" y="535"/>
                      <a:pt x="237" y="540"/>
                      <a:pt x="248" y="543"/>
                    </a:cubicBezTo>
                    <a:cubicBezTo>
                      <a:pt x="253" y="544"/>
                      <a:pt x="257" y="545"/>
                      <a:pt x="261" y="546"/>
                    </a:cubicBezTo>
                    <a:cubicBezTo>
                      <a:pt x="264" y="573"/>
                      <a:pt x="266" y="600"/>
                      <a:pt x="270" y="628"/>
                    </a:cubicBezTo>
                    <a:cubicBezTo>
                      <a:pt x="281" y="629"/>
                      <a:pt x="292" y="630"/>
                      <a:pt x="305" y="630"/>
                    </a:cubicBezTo>
                    <a:lnTo>
                      <a:pt x="324" y="630"/>
                    </a:lnTo>
                    <a:cubicBezTo>
                      <a:pt x="337" y="630"/>
                      <a:pt x="351" y="629"/>
                      <a:pt x="365" y="626"/>
                    </a:cubicBezTo>
                    <a:cubicBezTo>
                      <a:pt x="367" y="600"/>
                      <a:pt x="370" y="573"/>
                      <a:pt x="372" y="545"/>
                    </a:cubicBezTo>
                    <a:lnTo>
                      <a:pt x="384" y="541"/>
                    </a:lnTo>
                    <a:lnTo>
                      <a:pt x="384" y="541"/>
                    </a:lnTo>
                    <a:cubicBezTo>
                      <a:pt x="395" y="539"/>
                      <a:pt x="405" y="535"/>
                      <a:pt x="415" y="530"/>
                    </a:cubicBezTo>
                    <a:cubicBezTo>
                      <a:pt x="424" y="526"/>
                      <a:pt x="432" y="521"/>
                      <a:pt x="441" y="515"/>
                    </a:cubicBezTo>
                    <a:cubicBezTo>
                      <a:pt x="441" y="516"/>
                      <a:pt x="441" y="516"/>
                      <a:pt x="442" y="516"/>
                    </a:cubicBezTo>
                    <a:cubicBezTo>
                      <a:pt x="462" y="534"/>
                      <a:pt x="483" y="551"/>
                      <a:pt x="505" y="568"/>
                    </a:cubicBezTo>
                    <a:cubicBezTo>
                      <a:pt x="508" y="565"/>
                      <a:pt x="512" y="563"/>
                      <a:pt x="517" y="559"/>
                    </a:cubicBezTo>
                    <a:cubicBezTo>
                      <a:pt x="525" y="553"/>
                      <a:pt x="532" y="545"/>
                      <a:pt x="538" y="538"/>
                    </a:cubicBezTo>
                    <a:cubicBezTo>
                      <a:pt x="550" y="526"/>
                      <a:pt x="561" y="514"/>
                      <a:pt x="571" y="500"/>
                    </a:cubicBezTo>
                    <a:cubicBezTo>
                      <a:pt x="553" y="479"/>
                      <a:pt x="536" y="458"/>
                      <a:pt x="518" y="438"/>
                    </a:cubicBezTo>
                    <a:lnTo>
                      <a:pt x="518" y="436"/>
                    </a:lnTo>
                    <a:cubicBezTo>
                      <a:pt x="522" y="430"/>
                      <a:pt x="526" y="422"/>
                      <a:pt x="530" y="415"/>
                    </a:cubicBezTo>
                    <a:cubicBezTo>
                      <a:pt x="533" y="405"/>
                      <a:pt x="538" y="395"/>
                      <a:pt x="541" y="385"/>
                    </a:cubicBezTo>
                    <a:cubicBezTo>
                      <a:pt x="541" y="384"/>
                      <a:pt x="541" y="383"/>
                      <a:pt x="542" y="383"/>
                    </a:cubicBezTo>
                    <a:cubicBezTo>
                      <a:pt x="542" y="378"/>
                      <a:pt x="543" y="374"/>
                      <a:pt x="545" y="371"/>
                    </a:cubicBezTo>
                    <a:cubicBezTo>
                      <a:pt x="572" y="369"/>
                      <a:pt x="600" y="366"/>
                      <a:pt x="626" y="364"/>
                    </a:cubicBezTo>
                    <a:cubicBezTo>
                      <a:pt x="629" y="351"/>
                      <a:pt x="629" y="339"/>
                      <a:pt x="630" y="326"/>
                    </a:cubicBezTo>
                    <a:lnTo>
                      <a:pt x="630" y="315"/>
                    </a:lnTo>
                    <a:lnTo>
                      <a:pt x="630" y="305"/>
                    </a:lnTo>
                    <a:cubicBezTo>
                      <a:pt x="629" y="293"/>
                      <a:pt x="629" y="280"/>
                      <a:pt x="626" y="268"/>
                    </a:cubicBezTo>
                    <a:cubicBezTo>
                      <a:pt x="600" y="265"/>
                      <a:pt x="572" y="263"/>
                      <a:pt x="545" y="260"/>
                    </a:cubicBezTo>
                    <a:cubicBezTo>
                      <a:pt x="544" y="256"/>
                      <a:pt x="542" y="252"/>
                      <a:pt x="542" y="249"/>
                    </a:cubicBezTo>
                    <a:cubicBezTo>
                      <a:pt x="538" y="238"/>
                      <a:pt x="535" y="226"/>
                      <a:pt x="530" y="215"/>
                    </a:cubicBezTo>
                    <a:cubicBezTo>
                      <a:pt x="526" y="207"/>
                      <a:pt x="521" y="199"/>
                      <a:pt x="517" y="191"/>
                    </a:cubicBezTo>
                    <a:cubicBezTo>
                      <a:pt x="534" y="171"/>
                      <a:pt x="551" y="150"/>
                      <a:pt x="569" y="129"/>
                    </a:cubicBezTo>
                    <a:close/>
                    <a:moveTo>
                      <a:pt x="235" y="233"/>
                    </a:moveTo>
                    <a:cubicBezTo>
                      <a:pt x="257" y="209"/>
                      <a:pt x="285" y="198"/>
                      <a:pt x="316" y="199"/>
                    </a:cubicBezTo>
                    <a:cubicBezTo>
                      <a:pt x="349" y="198"/>
                      <a:pt x="375" y="209"/>
                      <a:pt x="399" y="233"/>
                    </a:cubicBezTo>
                    <a:cubicBezTo>
                      <a:pt x="421" y="255"/>
                      <a:pt x="432" y="283"/>
                      <a:pt x="432" y="314"/>
                    </a:cubicBezTo>
                    <a:cubicBezTo>
                      <a:pt x="432" y="346"/>
                      <a:pt x="421" y="373"/>
                      <a:pt x="399" y="396"/>
                    </a:cubicBezTo>
                    <a:cubicBezTo>
                      <a:pt x="375" y="419"/>
                      <a:pt x="349" y="430"/>
                      <a:pt x="316" y="430"/>
                    </a:cubicBezTo>
                    <a:cubicBezTo>
                      <a:pt x="285" y="430"/>
                      <a:pt x="257" y="419"/>
                      <a:pt x="235" y="396"/>
                    </a:cubicBezTo>
                    <a:cubicBezTo>
                      <a:pt x="212" y="373"/>
                      <a:pt x="201" y="346"/>
                      <a:pt x="201" y="314"/>
                    </a:cubicBezTo>
                    <a:cubicBezTo>
                      <a:pt x="201" y="283"/>
                      <a:pt x="212" y="255"/>
                      <a:pt x="235" y="233"/>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chemeClr val="tx1"/>
                    </a:solidFill>
                  </a:ln>
                  <a:solidFill>
                    <a:prstClr val="black"/>
                  </a:solidFill>
                  <a:effectLst/>
                  <a:uLnTx/>
                  <a:uFillTx/>
                  <a:latin typeface="Calibri" panose="020F0502020204030204"/>
                  <a:ea typeface="+mn-ea"/>
                  <a:cs typeface="+mn-cs"/>
                </a:endParaRPr>
              </a:p>
            </p:txBody>
          </p:sp>
          <p:sp>
            <p:nvSpPr>
              <p:cNvPr id="7" name="Gears">
                <a:extLst>
                  <a:ext uri="{FF2B5EF4-FFF2-40B4-BE49-F238E27FC236}">
                    <a16:creationId xmlns:a16="http://schemas.microsoft.com/office/drawing/2014/main" id="{107451A6-3D20-4303-8C62-3821E899514E}"/>
                  </a:ext>
                </a:extLst>
              </p:cNvPr>
              <p:cNvSpPr>
                <a:spLocks noEditPoints="1"/>
              </p:cNvSpPr>
              <p:nvPr>
                <p:custDataLst>
                  <p:tags r:id="rId3"/>
                </p:custDataLst>
              </p:nvPr>
            </p:nvSpPr>
            <p:spPr bwMode="auto">
              <a:xfrm>
                <a:off x="294" y="92"/>
                <a:ext cx="77" cy="78"/>
              </a:xfrm>
              <a:custGeom>
                <a:avLst/>
                <a:gdLst>
                  <a:gd name="T0" fmla="*/ 98 w 197"/>
                  <a:gd name="T1" fmla="*/ 0 h 199"/>
                  <a:gd name="T2" fmla="*/ 28 w 197"/>
                  <a:gd name="T3" fmla="*/ 29 h 199"/>
                  <a:gd name="T4" fmla="*/ 0 w 197"/>
                  <a:gd name="T5" fmla="*/ 99 h 199"/>
                  <a:gd name="T6" fmla="*/ 28 w 197"/>
                  <a:gd name="T7" fmla="*/ 169 h 199"/>
                  <a:gd name="T8" fmla="*/ 28 w 197"/>
                  <a:gd name="T9" fmla="*/ 169 h 199"/>
                  <a:gd name="T10" fmla="*/ 98 w 197"/>
                  <a:gd name="T11" fmla="*/ 199 h 199"/>
                  <a:gd name="T12" fmla="*/ 168 w 197"/>
                  <a:gd name="T13" fmla="*/ 169 h 199"/>
                  <a:gd name="T14" fmla="*/ 168 w 197"/>
                  <a:gd name="T15" fmla="*/ 169 h 199"/>
                  <a:gd name="T16" fmla="*/ 197 w 197"/>
                  <a:gd name="T17" fmla="*/ 99 h 199"/>
                  <a:gd name="T18" fmla="*/ 197 w 197"/>
                  <a:gd name="T19" fmla="*/ 99 h 199"/>
                  <a:gd name="T20" fmla="*/ 168 w 197"/>
                  <a:gd name="T21" fmla="*/ 29 h 199"/>
                  <a:gd name="T22" fmla="*/ 98 w 197"/>
                  <a:gd name="T23" fmla="*/ 0 h 199"/>
                  <a:gd name="T24" fmla="*/ 46 w 197"/>
                  <a:gd name="T25" fmla="*/ 46 h 199"/>
                  <a:gd name="T26" fmla="*/ 98 w 197"/>
                  <a:gd name="T27" fmla="*/ 25 h 199"/>
                  <a:gd name="T28" fmla="*/ 151 w 197"/>
                  <a:gd name="T29" fmla="*/ 46 h 199"/>
                  <a:gd name="T30" fmla="*/ 172 w 197"/>
                  <a:gd name="T31" fmla="*/ 99 h 199"/>
                  <a:gd name="T32" fmla="*/ 172 w 197"/>
                  <a:gd name="T33" fmla="*/ 99 h 199"/>
                  <a:gd name="T34" fmla="*/ 151 w 197"/>
                  <a:gd name="T35" fmla="*/ 151 h 199"/>
                  <a:gd name="T36" fmla="*/ 98 w 197"/>
                  <a:gd name="T37" fmla="*/ 174 h 199"/>
                  <a:gd name="T38" fmla="*/ 46 w 197"/>
                  <a:gd name="T39" fmla="*/ 151 h 199"/>
                  <a:gd name="T40" fmla="*/ 24 w 197"/>
                  <a:gd name="T41" fmla="*/ 99 h 199"/>
                  <a:gd name="T42" fmla="*/ 46 w 197"/>
                  <a:gd name="T43" fmla="*/ 4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7" h="199">
                    <a:moveTo>
                      <a:pt x="98" y="0"/>
                    </a:moveTo>
                    <a:cubicBezTo>
                      <a:pt x="71" y="0"/>
                      <a:pt x="48" y="10"/>
                      <a:pt x="28" y="29"/>
                    </a:cubicBezTo>
                    <a:cubicBezTo>
                      <a:pt x="10" y="49"/>
                      <a:pt x="0" y="71"/>
                      <a:pt x="0" y="99"/>
                    </a:cubicBezTo>
                    <a:cubicBezTo>
                      <a:pt x="0" y="126"/>
                      <a:pt x="10" y="149"/>
                      <a:pt x="28" y="169"/>
                    </a:cubicBezTo>
                    <a:lnTo>
                      <a:pt x="28" y="169"/>
                    </a:lnTo>
                    <a:cubicBezTo>
                      <a:pt x="48" y="189"/>
                      <a:pt x="71" y="199"/>
                      <a:pt x="98" y="199"/>
                    </a:cubicBezTo>
                    <a:cubicBezTo>
                      <a:pt x="126" y="199"/>
                      <a:pt x="148" y="189"/>
                      <a:pt x="168" y="169"/>
                    </a:cubicBezTo>
                    <a:lnTo>
                      <a:pt x="168" y="169"/>
                    </a:lnTo>
                    <a:cubicBezTo>
                      <a:pt x="188" y="149"/>
                      <a:pt x="197" y="126"/>
                      <a:pt x="197" y="99"/>
                    </a:cubicBezTo>
                    <a:lnTo>
                      <a:pt x="197" y="99"/>
                    </a:lnTo>
                    <a:cubicBezTo>
                      <a:pt x="197" y="71"/>
                      <a:pt x="188" y="49"/>
                      <a:pt x="168" y="29"/>
                    </a:cubicBezTo>
                    <a:cubicBezTo>
                      <a:pt x="148" y="10"/>
                      <a:pt x="126" y="0"/>
                      <a:pt x="98" y="0"/>
                    </a:cubicBezTo>
                    <a:close/>
                    <a:moveTo>
                      <a:pt x="46" y="46"/>
                    </a:moveTo>
                    <a:cubicBezTo>
                      <a:pt x="61" y="32"/>
                      <a:pt x="78" y="25"/>
                      <a:pt x="98" y="25"/>
                    </a:cubicBezTo>
                    <a:cubicBezTo>
                      <a:pt x="118" y="25"/>
                      <a:pt x="136" y="33"/>
                      <a:pt x="151" y="46"/>
                    </a:cubicBezTo>
                    <a:cubicBezTo>
                      <a:pt x="166" y="61"/>
                      <a:pt x="172" y="78"/>
                      <a:pt x="172" y="99"/>
                    </a:cubicBezTo>
                    <a:lnTo>
                      <a:pt x="172" y="99"/>
                    </a:lnTo>
                    <a:cubicBezTo>
                      <a:pt x="172" y="120"/>
                      <a:pt x="166" y="138"/>
                      <a:pt x="151" y="151"/>
                    </a:cubicBezTo>
                    <a:cubicBezTo>
                      <a:pt x="136" y="166"/>
                      <a:pt x="118" y="174"/>
                      <a:pt x="98" y="174"/>
                    </a:cubicBezTo>
                    <a:cubicBezTo>
                      <a:pt x="78" y="174"/>
                      <a:pt x="61" y="166"/>
                      <a:pt x="46" y="151"/>
                    </a:cubicBezTo>
                    <a:cubicBezTo>
                      <a:pt x="32" y="137"/>
                      <a:pt x="24" y="120"/>
                      <a:pt x="24" y="99"/>
                    </a:cubicBezTo>
                    <a:cubicBezTo>
                      <a:pt x="25" y="79"/>
                      <a:pt x="32" y="61"/>
                      <a:pt x="46" y="46"/>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chemeClr val="tx1"/>
                    </a:solidFill>
                  </a:ln>
                  <a:solidFill>
                    <a:prstClr val="black"/>
                  </a:solidFill>
                  <a:effectLst/>
                  <a:uLnTx/>
                  <a:uFillTx/>
                  <a:latin typeface="Calibri" panose="020F0502020204030204"/>
                  <a:ea typeface="+mn-ea"/>
                  <a:cs typeface="+mn-cs"/>
                </a:endParaRPr>
              </a:p>
            </p:txBody>
          </p:sp>
          <p:sp>
            <p:nvSpPr>
              <p:cNvPr id="8" name="Gears">
                <a:extLst>
                  <a:ext uri="{FF2B5EF4-FFF2-40B4-BE49-F238E27FC236}">
                    <a16:creationId xmlns:a16="http://schemas.microsoft.com/office/drawing/2014/main" id="{5AD2600E-CC6D-4C09-BC18-B6E2ED4E7D13}"/>
                  </a:ext>
                </a:extLst>
              </p:cNvPr>
              <p:cNvSpPr>
                <a:spLocks noEditPoints="1"/>
              </p:cNvSpPr>
              <p:nvPr>
                <p:custDataLst>
                  <p:tags r:id="rId4"/>
                </p:custDataLst>
              </p:nvPr>
            </p:nvSpPr>
            <p:spPr bwMode="auto">
              <a:xfrm>
                <a:off x="8" y="167"/>
                <a:ext cx="316" cy="318"/>
              </a:xfrm>
              <a:custGeom>
                <a:avLst/>
                <a:gdLst>
                  <a:gd name="T0" fmla="*/ 497 w 810"/>
                  <a:gd name="T1" fmla="*/ 8 h 812"/>
                  <a:gd name="T2" fmla="*/ 416 w 810"/>
                  <a:gd name="T3" fmla="*/ 98 h 812"/>
                  <a:gd name="T4" fmla="*/ 394 w 810"/>
                  <a:gd name="T5" fmla="*/ 98 h 812"/>
                  <a:gd name="T6" fmla="*/ 318 w 810"/>
                  <a:gd name="T7" fmla="*/ 112 h 812"/>
                  <a:gd name="T8" fmla="*/ 255 w 810"/>
                  <a:gd name="T9" fmla="*/ 26 h 812"/>
                  <a:gd name="T10" fmla="*/ 199 w 810"/>
                  <a:gd name="T11" fmla="*/ 53 h 812"/>
                  <a:gd name="T12" fmla="*/ 150 w 810"/>
                  <a:gd name="T13" fmla="*/ 88 h 812"/>
                  <a:gd name="T14" fmla="*/ 170 w 810"/>
                  <a:gd name="T15" fmla="*/ 208 h 812"/>
                  <a:gd name="T16" fmla="*/ 144 w 810"/>
                  <a:gd name="T17" fmla="*/ 243 h 812"/>
                  <a:gd name="T18" fmla="*/ 30 w 810"/>
                  <a:gd name="T19" fmla="*/ 242 h 812"/>
                  <a:gd name="T20" fmla="*/ 0 w 810"/>
                  <a:gd name="T21" fmla="*/ 361 h 812"/>
                  <a:gd name="T22" fmla="*/ 97 w 810"/>
                  <a:gd name="T23" fmla="*/ 416 h 812"/>
                  <a:gd name="T24" fmla="*/ 111 w 810"/>
                  <a:gd name="T25" fmla="*/ 497 h 812"/>
                  <a:gd name="T26" fmla="*/ 87 w 810"/>
                  <a:gd name="T27" fmla="*/ 663 h 812"/>
                  <a:gd name="T28" fmla="*/ 184 w 810"/>
                  <a:gd name="T29" fmla="*/ 620 h 812"/>
                  <a:gd name="T30" fmla="*/ 206 w 810"/>
                  <a:gd name="T31" fmla="*/ 641 h 812"/>
                  <a:gd name="T32" fmla="*/ 260 w 810"/>
                  <a:gd name="T33" fmla="*/ 677 h 812"/>
                  <a:gd name="T34" fmla="*/ 286 w 810"/>
                  <a:gd name="T35" fmla="*/ 796 h 812"/>
                  <a:gd name="T36" fmla="*/ 361 w 810"/>
                  <a:gd name="T37" fmla="*/ 812 h 812"/>
                  <a:gd name="T38" fmla="*/ 414 w 810"/>
                  <a:gd name="T39" fmla="*/ 712 h 812"/>
                  <a:gd name="T40" fmla="*/ 458 w 810"/>
                  <a:gd name="T41" fmla="*/ 708 h 812"/>
                  <a:gd name="T42" fmla="*/ 496 w 810"/>
                  <a:gd name="T43" fmla="*/ 700 h 812"/>
                  <a:gd name="T44" fmla="*/ 575 w 810"/>
                  <a:gd name="T45" fmla="*/ 777 h 812"/>
                  <a:gd name="T46" fmla="*/ 663 w 810"/>
                  <a:gd name="T47" fmla="*/ 722 h 812"/>
                  <a:gd name="T48" fmla="*/ 619 w 810"/>
                  <a:gd name="T49" fmla="*/ 626 h 812"/>
                  <a:gd name="T50" fmla="*/ 665 w 810"/>
                  <a:gd name="T51" fmla="*/ 568 h 812"/>
                  <a:gd name="T52" fmla="*/ 674 w 810"/>
                  <a:gd name="T53" fmla="*/ 552 h 812"/>
                  <a:gd name="T54" fmla="*/ 795 w 810"/>
                  <a:gd name="T55" fmla="*/ 523 h 812"/>
                  <a:gd name="T56" fmla="*/ 803 w 810"/>
                  <a:gd name="T57" fmla="*/ 498 h 812"/>
                  <a:gd name="T58" fmla="*/ 711 w 810"/>
                  <a:gd name="T59" fmla="*/ 413 h 812"/>
                  <a:gd name="T60" fmla="*/ 706 w 810"/>
                  <a:gd name="T61" fmla="*/ 352 h 812"/>
                  <a:gd name="T62" fmla="*/ 784 w 810"/>
                  <a:gd name="T63" fmla="*/ 256 h 812"/>
                  <a:gd name="T64" fmla="*/ 723 w 810"/>
                  <a:gd name="T65" fmla="*/ 151 h 812"/>
                  <a:gd name="T66" fmla="*/ 628 w 810"/>
                  <a:gd name="T67" fmla="*/ 195 h 812"/>
                  <a:gd name="T68" fmla="*/ 566 w 810"/>
                  <a:gd name="T69" fmla="*/ 146 h 812"/>
                  <a:gd name="T70" fmla="*/ 570 w 810"/>
                  <a:gd name="T71" fmla="*/ 32 h 812"/>
                  <a:gd name="T72" fmla="*/ 510 w 810"/>
                  <a:gd name="T73" fmla="*/ 12 h 812"/>
                  <a:gd name="T74" fmla="*/ 263 w 810"/>
                  <a:gd name="T75" fmla="*/ 366 h 812"/>
                  <a:gd name="T76" fmla="*/ 445 w 810"/>
                  <a:gd name="T77" fmla="*/ 260 h 812"/>
                  <a:gd name="T78" fmla="*/ 551 w 810"/>
                  <a:gd name="T79" fmla="*/ 443 h 812"/>
                  <a:gd name="T80" fmla="*/ 369 w 810"/>
                  <a:gd name="T81" fmla="*/ 548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0" h="812">
                    <a:moveTo>
                      <a:pt x="510" y="12"/>
                    </a:moveTo>
                    <a:cubicBezTo>
                      <a:pt x="505" y="10"/>
                      <a:pt x="501" y="8"/>
                      <a:pt x="497" y="8"/>
                    </a:cubicBezTo>
                    <a:cubicBezTo>
                      <a:pt x="482" y="5"/>
                      <a:pt x="468" y="2"/>
                      <a:pt x="452" y="0"/>
                    </a:cubicBezTo>
                    <a:cubicBezTo>
                      <a:pt x="439" y="33"/>
                      <a:pt x="427" y="66"/>
                      <a:pt x="416" y="98"/>
                    </a:cubicBezTo>
                    <a:lnTo>
                      <a:pt x="399" y="98"/>
                    </a:lnTo>
                    <a:lnTo>
                      <a:pt x="394" y="98"/>
                    </a:lnTo>
                    <a:cubicBezTo>
                      <a:pt x="379" y="100"/>
                      <a:pt x="365" y="101"/>
                      <a:pt x="351" y="103"/>
                    </a:cubicBezTo>
                    <a:cubicBezTo>
                      <a:pt x="340" y="105"/>
                      <a:pt x="329" y="108"/>
                      <a:pt x="318" y="112"/>
                    </a:cubicBezTo>
                    <a:cubicBezTo>
                      <a:pt x="298" y="83"/>
                      <a:pt x="276" y="55"/>
                      <a:pt x="256" y="27"/>
                    </a:cubicBezTo>
                    <a:lnTo>
                      <a:pt x="255" y="26"/>
                    </a:lnTo>
                    <a:cubicBezTo>
                      <a:pt x="247" y="28"/>
                      <a:pt x="240" y="31"/>
                      <a:pt x="234" y="35"/>
                    </a:cubicBezTo>
                    <a:cubicBezTo>
                      <a:pt x="221" y="40"/>
                      <a:pt x="210" y="46"/>
                      <a:pt x="199" y="53"/>
                    </a:cubicBezTo>
                    <a:cubicBezTo>
                      <a:pt x="181" y="62"/>
                      <a:pt x="165" y="73"/>
                      <a:pt x="150" y="87"/>
                    </a:cubicBezTo>
                    <a:lnTo>
                      <a:pt x="150" y="88"/>
                    </a:lnTo>
                    <a:cubicBezTo>
                      <a:pt x="165" y="120"/>
                      <a:pt x="179" y="151"/>
                      <a:pt x="194" y="182"/>
                    </a:cubicBezTo>
                    <a:cubicBezTo>
                      <a:pt x="185" y="191"/>
                      <a:pt x="177" y="198"/>
                      <a:pt x="170" y="208"/>
                    </a:cubicBezTo>
                    <a:cubicBezTo>
                      <a:pt x="160" y="218"/>
                      <a:pt x="151" y="231"/>
                      <a:pt x="144" y="243"/>
                    </a:cubicBezTo>
                    <a:lnTo>
                      <a:pt x="144" y="243"/>
                    </a:lnTo>
                    <a:cubicBezTo>
                      <a:pt x="140" y="248"/>
                      <a:pt x="137" y="253"/>
                      <a:pt x="135" y="260"/>
                    </a:cubicBezTo>
                    <a:cubicBezTo>
                      <a:pt x="100" y="253"/>
                      <a:pt x="65" y="247"/>
                      <a:pt x="30" y="242"/>
                    </a:cubicBezTo>
                    <a:cubicBezTo>
                      <a:pt x="24" y="257"/>
                      <a:pt x="17" y="272"/>
                      <a:pt x="12" y="288"/>
                    </a:cubicBezTo>
                    <a:cubicBezTo>
                      <a:pt x="7" y="313"/>
                      <a:pt x="2" y="337"/>
                      <a:pt x="0" y="361"/>
                    </a:cubicBezTo>
                    <a:lnTo>
                      <a:pt x="97" y="398"/>
                    </a:lnTo>
                    <a:lnTo>
                      <a:pt x="97" y="416"/>
                    </a:lnTo>
                    <a:cubicBezTo>
                      <a:pt x="97" y="430"/>
                      <a:pt x="99" y="445"/>
                      <a:pt x="102" y="460"/>
                    </a:cubicBezTo>
                    <a:cubicBezTo>
                      <a:pt x="104" y="472"/>
                      <a:pt x="108" y="485"/>
                      <a:pt x="111" y="497"/>
                    </a:cubicBezTo>
                    <a:cubicBezTo>
                      <a:pt x="82" y="517"/>
                      <a:pt x="55" y="537"/>
                      <a:pt x="26" y="558"/>
                    </a:cubicBezTo>
                    <a:cubicBezTo>
                      <a:pt x="41" y="596"/>
                      <a:pt x="62" y="631"/>
                      <a:pt x="87" y="663"/>
                    </a:cubicBezTo>
                    <a:lnTo>
                      <a:pt x="89" y="663"/>
                    </a:lnTo>
                    <a:cubicBezTo>
                      <a:pt x="120" y="648"/>
                      <a:pt x="151" y="635"/>
                      <a:pt x="184" y="620"/>
                    </a:cubicBezTo>
                    <a:lnTo>
                      <a:pt x="184" y="620"/>
                    </a:lnTo>
                    <a:cubicBezTo>
                      <a:pt x="191" y="627"/>
                      <a:pt x="199" y="633"/>
                      <a:pt x="206" y="641"/>
                    </a:cubicBezTo>
                    <a:cubicBezTo>
                      <a:pt x="217" y="651"/>
                      <a:pt x="231" y="660"/>
                      <a:pt x="246" y="668"/>
                    </a:cubicBezTo>
                    <a:cubicBezTo>
                      <a:pt x="250" y="671"/>
                      <a:pt x="255" y="673"/>
                      <a:pt x="260" y="677"/>
                    </a:cubicBezTo>
                    <a:cubicBezTo>
                      <a:pt x="254" y="711"/>
                      <a:pt x="249" y="746"/>
                      <a:pt x="244" y="781"/>
                    </a:cubicBezTo>
                    <a:cubicBezTo>
                      <a:pt x="258" y="787"/>
                      <a:pt x="271" y="792"/>
                      <a:pt x="286" y="796"/>
                    </a:cubicBezTo>
                    <a:cubicBezTo>
                      <a:pt x="290" y="797"/>
                      <a:pt x="297" y="800"/>
                      <a:pt x="310" y="802"/>
                    </a:cubicBezTo>
                    <a:cubicBezTo>
                      <a:pt x="327" y="807"/>
                      <a:pt x="345" y="810"/>
                      <a:pt x="361" y="812"/>
                    </a:cubicBezTo>
                    <a:cubicBezTo>
                      <a:pt x="375" y="778"/>
                      <a:pt x="388" y="746"/>
                      <a:pt x="399" y="712"/>
                    </a:cubicBezTo>
                    <a:lnTo>
                      <a:pt x="414" y="712"/>
                    </a:lnTo>
                    <a:lnTo>
                      <a:pt x="415" y="712"/>
                    </a:lnTo>
                    <a:cubicBezTo>
                      <a:pt x="430" y="712"/>
                      <a:pt x="444" y="711"/>
                      <a:pt x="458" y="708"/>
                    </a:cubicBezTo>
                    <a:cubicBezTo>
                      <a:pt x="470" y="706"/>
                      <a:pt x="483" y="702"/>
                      <a:pt x="495" y="698"/>
                    </a:cubicBezTo>
                    <a:cubicBezTo>
                      <a:pt x="495" y="698"/>
                      <a:pt x="495" y="700"/>
                      <a:pt x="496" y="700"/>
                    </a:cubicBezTo>
                    <a:cubicBezTo>
                      <a:pt x="516" y="728"/>
                      <a:pt x="538" y="757"/>
                      <a:pt x="558" y="786"/>
                    </a:cubicBezTo>
                    <a:cubicBezTo>
                      <a:pt x="564" y="782"/>
                      <a:pt x="570" y="780"/>
                      <a:pt x="575" y="777"/>
                    </a:cubicBezTo>
                    <a:cubicBezTo>
                      <a:pt x="588" y="772"/>
                      <a:pt x="599" y="766"/>
                      <a:pt x="610" y="760"/>
                    </a:cubicBezTo>
                    <a:cubicBezTo>
                      <a:pt x="629" y="748"/>
                      <a:pt x="646" y="736"/>
                      <a:pt x="663" y="722"/>
                    </a:cubicBezTo>
                    <a:cubicBezTo>
                      <a:pt x="649" y="690"/>
                      <a:pt x="634" y="658"/>
                      <a:pt x="619" y="626"/>
                    </a:cubicBezTo>
                    <a:lnTo>
                      <a:pt x="619" y="626"/>
                    </a:lnTo>
                    <a:cubicBezTo>
                      <a:pt x="626" y="618"/>
                      <a:pt x="633" y="611"/>
                      <a:pt x="640" y="603"/>
                    </a:cubicBezTo>
                    <a:cubicBezTo>
                      <a:pt x="649" y="592"/>
                      <a:pt x="658" y="580"/>
                      <a:pt x="665" y="568"/>
                    </a:cubicBezTo>
                    <a:cubicBezTo>
                      <a:pt x="665" y="567"/>
                      <a:pt x="666" y="566"/>
                      <a:pt x="666" y="565"/>
                    </a:cubicBezTo>
                    <a:cubicBezTo>
                      <a:pt x="669" y="561"/>
                      <a:pt x="671" y="556"/>
                      <a:pt x="674" y="552"/>
                    </a:cubicBezTo>
                    <a:cubicBezTo>
                      <a:pt x="709" y="558"/>
                      <a:pt x="744" y="563"/>
                      <a:pt x="779" y="570"/>
                    </a:cubicBezTo>
                    <a:cubicBezTo>
                      <a:pt x="785" y="555"/>
                      <a:pt x="790" y="540"/>
                      <a:pt x="795" y="523"/>
                    </a:cubicBezTo>
                    <a:cubicBezTo>
                      <a:pt x="796" y="520"/>
                      <a:pt x="798" y="516"/>
                      <a:pt x="799" y="511"/>
                    </a:cubicBezTo>
                    <a:cubicBezTo>
                      <a:pt x="800" y="507"/>
                      <a:pt x="800" y="503"/>
                      <a:pt x="803" y="498"/>
                    </a:cubicBezTo>
                    <a:cubicBezTo>
                      <a:pt x="805" y="482"/>
                      <a:pt x="809" y="466"/>
                      <a:pt x="810" y="451"/>
                    </a:cubicBezTo>
                    <a:cubicBezTo>
                      <a:pt x="778" y="437"/>
                      <a:pt x="744" y="426"/>
                      <a:pt x="711" y="413"/>
                    </a:cubicBezTo>
                    <a:lnTo>
                      <a:pt x="711" y="398"/>
                    </a:lnTo>
                    <a:cubicBezTo>
                      <a:pt x="711" y="383"/>
                      <a:pt x="710" y="367"/>
                      <a:pt x="706" y="352"/>
                    </a:cubicBezTo>
                    <a:cubicBezTo>
                      <a:pt x="705" y="341"/>
                      <a:pt x="701" y="330"/>
                      <a:pt x="699" y="318"/>
                    </a:cubicBezTo>
                    <a:cubicBezTo>
                      <a:pt x="728" y="298"/>
                      <a:pt x="756" y="277"/>
                      <a:pt x="784" y="256"/>
                    </a:cubicBezTo>
                    <a:lnTo>
                      <a:pt x="785" y="256"/>
                    </a:lnTo>
                    <a:cubicBezTo>
                      <a:pt x="770" y="218"/>
                      <a:pt x="750" y="183"/>
                      <a:pt x="723" y="151"/>
                    </a:cubicBezTo>
                    <a:lnTo>
                      <a:pt x="723" y="151"/>
                    </a:lnTo>
                    <a:cubicBezTo>
                      <a:pt x="690" y="165"/>
                      <a:pt x="659" y="180"/>
                      <a:pt x="628" y="195"/>
                    </a:cubicBezTo>
                    <a:cubicBezTo>
                      <a:pt x="619" y="186"/>
                      <a:pt x="610" y="177"/>
                      <a:pt x="601" y="170"/>
                    </a:cubicBezTo>
                    <a:cubicBezTo>
                      <a:pt x="590" y="161"/>
                      <a:pt x="579" y="152"/>
                      <a:pt x="566" y="146"/>
                    </a:cubicBezTo>
                    <a:cubicBezTo>
                      <a:pt x="563" y="142"/>
                      <a:pt x="557" y="140"/>
                      <a:pt x="554" y="137"/>
                    </a:cubicBezTo>
                    <a:cubicBezTo>
                      <a:pt x="559" y="102"/>
                      <a:pt x="565" y="67"/>
                      <a:pt x="570" y="32"/>
                    </a:cubicBezTo>
                    <a:cubicBezTo>
                      <a:pt x="555" y="26"/>
                      <a:pt x="539" y="20"/>
                      <a:pt x="523" y="15"/>
                    </a:cubicBezTo>
                    <a:cubicBezTo>
                      <a:pt x="519" y="13"/>
                      <a:pt x="514" y="12"/>
                      <a:pt x="510" y="12"/>
                    </a:cubicBezTo>
                    <a:close/>
                    <a:moveTo>
                      <a:pt x="278" y="480"/>
                    </a:moveTo>
                    <a:cubicBezTo>
                      <a:pt x="256" y="443"/>
                      <a:pt x="251" y="406"/>
                      <a:pt x="263" y="366"/>
                    </a:cubicBezTo>
                    <a:cubicBezTo>
                      <a:pt x="273" y="326"/>
                      <a:pt x="296" y="296"/>
                      <a:pt x="333" y="275"/>
                    </a:cubicBezTo>
                    <a:cubicBezTo>
                      <a:pt x="368" y="255"/>
                      <a:pt x="406" y="250"/>
                      <a:pt x="445" y="260"/>
                    </a:cubicBezTo>
                    <a:cubicBezTo>
                      <a:pt x="485" y="271"/>
                      <a:pt x="516" y="293"/>
                      <a:pt x="536" y="330"/>
                    </a:cubicBezTo>
                    <a:cubicBezTo>
                      <a:pt x="558" y="366"/>
                      <a:pt x="563" y="403"/>
                      <a:pt x="551" y="443"/>
                    </a:cubicBezTo>
                    <a:cubicBezTo>
                      <a:pt x="541" y="483"/>
                      <a:pt x="518" y="513"/>
                      <a:pt x="483" y="533"/>
                    </a:cubicBezTo>
                    <a:cubicBezTo>
                      <a:pt x="445" y="555"/>
                      <a:pt x="408" y="559"/>
                      <a:pt x="369" y="548"/>
                    </a:cubicBezTo>
                    <a:cubicBezTo>
                      <a:pt x="329" y="538"/>
                      <a:pt x="298" y="515"/>
                      <a:pt x="278" y="480"/>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chemeClr val="tx1"/>
                    </a:solidFill>
                  </a:ln>
                  <a:solidFill>
                    <a:prstClr val="black"/>
                  </a:solidFill>
                  <a:effectLst/>
                  <a:uLnTx/>
                  <a:uFillTx/>
                  <a:latin typeface="Calibri" panose="020F0502020204030204"/>
                  <a:ea typeface="+mn-ea"/>
                  <a:cs typeface="+mn-cs"/>
                </a:endParaRPr>
              </a:p>
            </p:txBody>
          </p:sp>
          <p:sp>
            <p:nvSpPr>
              <p:cNvPr id="9" name="Gears">
                <a:extLst>
                  <a:ext uri="{FF2B5EF4-FFF2-40B4-BE49-F238E27FC236}">
                    <a16:creationId xmlns:a16="http://schemas.microsoft.com/office/drawing/2014/main" id="{5BE56364-9581-4E3F-B202-21708C5960E7}"/>
                  </a:ext>
                </a:extLst>
              </p:cNvPr>
              <p:cNvSpPr>
                <a:spLocks noEditPoints="1"/>
              </p:cNvSpPr>
              <p:nvPr>
                <p:custDataLst>
                  <p:tags r:id="rId5"/>
                </p:custDataLst>
              </p:nvPr>
            </p:nvSpPr>
            <p:spPr bwMode="auto">
              <a:xfrm>
                <a:off x="115" y="273"/>
                <a:ext cx="104" cy="104"/>
              </a:xfrm>
              <a:custGeom>
                <a:avLst/>
                <a:gdLst>
                  <a:gd name="T0" fmla="*/ 10 w 266"/>
                  <a:gd name="T1" fmla="*/ 101 h 266"/>
                  <a:gd name="T2" fmla="*/ 21 w 266"/>
                  <a:gd name="T3" fmla="*/ 197 h 266"/>
                  <a:gd name="T4" fmla="*/ 23 w 266"/>
                  <a:gd name="T5" fmla="*/ 197 h 266"/>
                  <a:gd name="T6" fmla="*/ 100 w 266"/>
                  <a:gd name="T7" fmla="*/ 257 h 266"/>
                  <a:gd name="T8" fmla="*/ 197 w 266"/>
                  <a:gd name="T9" fmla="*/ 245 h 266"/>
                  <a:gd name="T10" fmla="*/ 197 w 266"/>
                  <a:gd name="T11" fmla="*/ 245 h 266"/>
                  <a:gd name="T12" fmla="*/ 257 w 266"/>
                  <a:gd name="T13" fmla="*/ 167 h 266"/>
                  <a:gd name="T14" fmla="*/ 257 w 266"/>
                  <a:gd name="T15" fmla="*/ 166 h 266"/>
                  <a:gd name="T16" fmla="*/ 244 w 266"/>
                  <a:gd name="T17" fmla="*/ 70 h 266"/>
                  <a:gd name="T18" fmla="*/ 166 w 266"/>
                  <a:gd name="T19" fmla="*/ 10 h 266"/>
                  <a:gd name="T20" fmla="*/ 69 w 266"/>
                  <a:gd name="T21" fmla="*/ 22 h 266"/>
                  <a:gd name="T22" fmla="*/ 10 w 266"/>
                  <a:gd name="T23" fmla="*/ 101 h 266"/>
                  <a:gd name="T24" fmla="*/ 85 w 266"/>
                  <a:gd name="T25" fmla="*/ 51 h 266"/>
                  <a:gd name="T26" fmla="*/ 158 w 266"/>
                  <a:gd name="T27" fmla="*/ 41 h 266"/>
                  <a:gd name="T28" fmla="*/ 216 w 266"/>
                  <a:gd name="T29" fmla="*/ 86 h 266"/>
                  <a:gd name="T30" fmla="*/ 226 w 266"/>
                  <a:gd name="T31" fmla="*/ 159 h 266"/>
                  <a:gd name="T32" fmla="*/ 181 w 266"/>
                  <a:gd name="T33" fmla="*/ 216 h 266"/>
                  <a:gd name="T34" fmla="*/ 181 w 266"/>
                  <a:gd name="T35" fmla="*/ 217 h 266"/>
                  <a:gd name="T36" fmla="*/ 109 w 266"/>
                  <a:gd name="T37" fmla="*/ 226 h 266"/>
                  <a:gd name="T38" fmla="*/ 50 w 266"/>
                  <a:gd name="T39" fmla="*/ 181 h 266"/>
                  <a:gd name="T40" fmla="*/ 40 w 266"/>
                  <a:gd name="T41" fmla="*/ 109 h 266"/>
                  <a:gd name="T42" fmla="*/ 85 w 266"/>
                  <a:gd name="T43" fmla="*/ 5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6" h="266">
                    <a:moveTo>
                      <a:pt x="10" y="101"/>
                    </a:moveTo>
                    <a:cubicBezTo>
                      <a:pt x="0" y="135"/>
                      <a:pt x="4" y="167"/>
                      <a:pt x="21" y="197"/>
                    </a:cubicBezTo>
                    <a:lnTo>
                      <a:pt x="23" y="197"/>
                    </a:lnTo>
                    <a:cubicBezTo>
                      <a:pt x="40" y="228"/>
                      <a:pt x="66" y="247"/>
                      <a:pt x="100" y="257"/>
                    </a:cubicBezTo>
                    <a:cubicBezTo>
                      <a:pt x="134" y="266"/>
                      <a:pt x="166" y="262"/>
                      <a:pt x="197" y="245"/>
                    </a:cubicBezTo>
                    <a:lnTo>
                      <a:pt x="197" y="245"/>
                    </a:lnTo>
                    <a:cubicBezTo>
                      <a:pt x="229" y="226"/>
                      <a:pt x="248" y="201"/>
                      <a:pt x="257" y="167"/>
                    </a:cubicBezTo>
                    <a:lnTo>
                      <a:pt x="257" y="166"/>
                    </a:lnTo>
                    <a:cubicBezTo>
                      <a:pt x="266" y="132"/>
                      <a:pt x="261" y="100"/>
                      <a:pt x="244" y="70"/>
                    </a:cubicBezTo>
                    <a:cubicBezTo>
                      <a:pt x="226" y="38"/>
                      <a:pt x="200" y="18"/>
                      <a:pt x="166" y="10"/>
                    </a:cubicBezTo>
                    <a:cubicBezTo>
                      <a:pt x="132" y="0"/>
                      <a:pt x="99" y="5"/>
                      <a:pt x="69" y="22"/>
                    </a:cubicBezTo>
                    <a:cubicBezTo>
                      <a:pt x="38" y="40"/>
                      <a:pt x="19" y="66"/>
                      <a:pt x="10" y="101"/>
                    </a:cubicBezTo>
                    <a:close/>
                    <a:moveTo>
                      <a:pt x="85" y="51"/>
                    </a:moveTo>
                    <a:cubicBezTo>
                      <a:pt x="109" y="37"/>
                      <a:pt x="133" y="34"/>
                      <a:pt x="158" y="41"/>
                    </a:cubicBezTo>
                    <a:cubicBezTo>
                      <a:pt x="183" y="47"/>
                      <a:pt x="203" y="62"/>
                      <a:pt x="216" y="86"/>
                    </a:cubicBezTo>
                    <a:cubicBezTo>
                      <a:pt x="230" y="109"/>
                      <a:pt x="233" y="134"/>
                      <a:pt x="226" y="159"/>
                    </a:cubicBezTo>
                    <a:cubicBezTo>
                      <a:pt x="219" y="184"/>
                      <a:pt x="204" y="203"/>
                      <a:pt x="181" y="216"/>
                    </a:cubicBezTo>
                    <a:lnTo>
                      <a:pt x="181" y="217"/>
                    </a:lnTo>
                    <a:cubicBezTo>
                      <a:pt x="158" y="230"/>
                      <a:pt x="134" y="233"/>
                      <a:pt x="109" y="226"/>
                    </a:cubicBezTo>
                    <a:cubicBezTo>
                      <a:pt x="83" y="220"/>
                      <a:pt x="64" y="205"/>
                      <a:pt x="50" y="181"/>
                    </a:cubicBezTo>
                    <a:cubicBezTo>
                      <a:pt x="38" y="159"/>
                      <a:pt x="34" y="135"/>
                      <a:pt x="40" y="109"/>
                    </a:cubicBezTo>
                    <a:cubicBezTo>
                      <a:pt x="48" y="84"/>
                      <a:pt x="63" y="65"/>
                      <a:pt x="85" y="51"/>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chemeClr val="tx1"/>
                    </a:solidFill>
                  </a:ln>
                  <a:solidFill>
                    <a:prstClr val="black"/>
                  </a:solidFill>
                  <a:effectLst/>
                  <a:uLnTx/>
                  <a:uFillTx/>
                  <a:latin typeface="Calibri" panose="020F0502020204030204"/>
                  <a:ea typeface="+mn-ea"/>
                  <a:cs typeface="+mn-cs"/>
                </a:endParaRPr>
              </a:p>
            </p:txBody>
          </p:sp>
        </p:grpSp>
      </p:grpSp>
      <p:grpSp>
        <p:nvGrpSpPr>
          <p:cNvPr id="83" name="Group 82">
            <a:extLst>
              <a:ext uri="{FF2B5EF4-FFF2-40B4-BE49-F238E27FC236}">
                <a16:creationId xmlns:a16="http://schemas.microsoft.com/office/drawing/2014/main" id="{D4E444E7-6F58-41B9-92C4-83B79DEBEF84}"/>
              </a:ext>
            </a:extLst>
          </p:cNvPr>
          <p:cNvGrpSpPr/>
          <p:nvPr/>
        </p:nvGrpSpPr>
        <p:grpSpPr>
          <a:xfrm>
            <a:off x="2939031" y="1717528"/>
            <a:ext cx="7709345" cy="2600612"/>
            <a:chOff x="2939031" y="1717528"/>
            <a:chExt cx="7709345" cy="2600612"/>
          </a:xfrm>
        </p:grpSpPr>
        <p:cxnSp>
          <p:nvCxnSpPr>
            <p:cNvPr id="77" name="Straight Arrow Connector 76">
              <a:extLst>
                <a:ext uri="{FF2B5EF4-FFF2-40B4-BE49-F238E27FC236}">
                  <a16:creationId xmlns:a16="http://schemas.microsoft.com/office/drawing/2014/main" id="{7BBE0127-E2A5-4789-906B-73B60E2E5BE7}"/>
                </a:ext>
              </a:extLst>
            </p:cNvPr>
            <p:cNvCxnSpPr/>
            <p:nvPr/>
          </p:nvCxnSpPr>
          <p:spPr>
            <a:xfrm>
              <a:off x="7779747" y="3217512"/>
              <a:ext cx="45720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ADE5AC76-2880-4DA9-980F-594A49B50D01}"/>
                </a:ext>
              </a:extLst>
            </p:cNvPr>
            <p:cNvGrpSpPr/>
            <p:nvPr/>
          </p:nvGrpSpPr>
          <p:grpSpPr>
            <a:xfrm>
              <a:off x="2939031" y="1717528"/>
              <a:ext cx="7709345" cy="2600612"/>
              <a:chOff x="2939031" y="1717528"/>
              <a:chExt cx="7709345" cy="2600612"/>
            </a:xfrm>
          </p:grpSpPr>
          <p:pic>
            <p:nvPicPr>
              <p:cNvPr id="70" name="Graphic 69">
                <a:extLst>
                  <a:ext uri="{FF2B5EF4-FFF2-40B4-BE49-F238E27FC236}">
                    <a16:creationId xmlns:a16="http://schemas.microsoft.com/office/drawing/2014/main" id="{E92B43AC-0ABB-4BE8-A3B8-0BC88F69C166}"/>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0375"/>
              <a:stretch/>
            </p:blipFill>
            <p:spPr>
              <a:xfrm>
                <a:off x="3046982" y="2232643"/>
                <a:ext cx="1588517" cy="1779645"/>
              </a:xfrm>
              <a:prstGeom prst="rect">
                <a:avLst/>
              </a:prstGeom>
            </p:spPr>
          </p:pic>
          <p:sp>
            <p:nvSpPr>
              <p:cNvPr id="72" name="TextBox 71">
                <a:extLst>
                  <a:ext uri="{FF2B5EF4-FFF2-40B4-BE49-F238E27FC236}">
                    <a16:creationId xmlns:a16="http://schemas.microsoft.com/office/drawing/2014/main" id="{9CA1B188-8B95-4F0B-AC10-BF15075C7284}"/>
                  </a:ext>
                </a:extLst>
              </p:cNvPr>
              <p:cNvSpPr txBox="1"/>
              <p:nvPr/>
            </p:nvSpPr>
            <p:spPr>
              <a:xfrm>
                <a:off x="2939031" y="1717528"/>
                <a:ext cx="1804417" cy="461665"/>
              </a:xfrm>
              <a:prstGeom prst="rect">
                <a:avLst/>
              </a:prstGeom>
              <a:noFill/>
            </p:spPr>
            <p:txBody>
              <a:bodyPr wrap="square">
                <a:spAutoFit/>
              </a:bodyPr>
              <a:lstStyle/>
              <a:p>
                <a:pPr algn="ctr"/>
                <a:r>
                  <a:rPr lang="en-US" sz="2400" dirty="0">
                    <a:solidFill>
                      <a:schemeClr val="bg1"/>
                    </a:solidFill>
                    <a:latin typeface="Quicksand Book" panose="02070303000000060000" pitchFamily="18" charset="0"/>
                  </a:rPr>
                  <a:t>Pharmacy</a:t>
                </a:r>
                <a:endParaRPr lang="en-SG" dirty="0">
                  <a:solidFill>
                    <a:schemeClr val="bg1"/>
                  </a:solidFill>
                  <a:latin typeface="Quicksand Book" panose="02070303000000060000" pitchFamily="18" charset="0"/>
                </a:endParaRPr>
              </a:p>
            </p:txBody>
          </p:sp>
          <p:cxnSp>
            <p:nvCxnSpPr>
              <p:cNvPr id="74" name="Straight Arrow Connector 73">
                <a:extLst>
                  <a:ext uri="{FF2B5EF4-FFF2-40B4-BE49-F238E27FC236}">
                    <a16:creationId xmlns:a16="http://schemas.microsoft.com/office/drawing/2014/main" id="{706D4583-A58A-4E16-904F-464BA8D34C5F}"/>
                  </a:ext>
                </a:extLst>
              </p:cNvPr>
              <p:cNvCxnSpPr/>
              <p:nvPr/>
            </p:nvCxnSpPr>
            <p:spPr>
              <a:xfrm>
                <a:off x="4826000" y="3225800"/>
                <a:ext cx="45720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76" name="Graphic 75">
                <a:extLst>
                  <a:ext uri="{FF2B5EF4-FFF2-40B4-BE49-F238E27FC236}">
                    <a16:creationId xmlns:a16="http://schemas.microsoft.com/office/drawing/2014/main" id="{378B88BB-4350-40B3-9CF8-1111A2CE03F9}"/>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5559"/>
              <a:stretch/>
            </p:blipFill>
            <p:spPr>
              <a:xfrm>
                <a:off x="5514171" y="1913684"/>
                <a:ext cx="2265576" cy="2404456"/>
              </a:xfrm>
              <a:prstGeom prst="rect">
                <a:avLst/>
              </a:prstGeom>
            </p:spPr>
          </p:pic>
          <p:sp>
            <p:nvSpPr>
              <p:cNvPr id="78" name="TextBox 77">
                <a:extLst>
                  <a:ext uri="{FF2B5EF4-FFF2-40B4-BE49-F238E27FC236}">
                    <a16:creationId xmlns:a16="http://schemas.microsoft.com/office/drawing/2014/main" id="{B8FF9BD5-FD05-4DB5-8E16-141B64DDDB46}"/>
                  </a:ext>
                </a:extLst>
              </p:cNvPr>
              <p:cNvSpPr txBox="1"/>
              <p:nvPr/>
            </p:nvSpPr>
            <p:spPr>
              <a:xfrm>
                <a:off x="5748102" y="1743259"/>
                <a:ext cx="1804417" cy="461665"/>
              </a:xfrm>
              <a:prstGeom prst="rect">
                <a:avLst/>
              </a:prstGeom>
              <a:noFill/>
            </p:spPr>
            <p:txBody>
              <a:bodyPr wrap="square">
                <a:spAutoFit/>
              </a:bodyPr>
              <a:lstStyle/>
              <a:p>
                <a:pPr algn="ctr"/>
                <a:r>
                  <a:rPr lang="en-US" sz="2400" dirty="0">
                    <a:solidFill>
                      <a:schemeClr val="bg1"/>
                    </a:solidFill>
                    <a:latin typeface="Quicksand Book" panose="02070303000000060000" pitchFamily="18" charset="0"/>
                  </a:rPr>
                  <a:t>Home</a:t>
                </a:r>
                <a:endParaRPr lang="en-SG" dirty="0">
                  <a:solidFill>
                    <a:schemeClr val="bg1"/>
                  </a:solidFill>
                  <a:latin typeface="Quicksand Book" panose="02070303000000060000" pitchFamily="18" charset="0"/>
                </a:endParaRPr>
              </a:p>
            </p:txBody>
          </p:sp>
          <p:pic>
            <p:nvPicPr>
              <p:cNvPr id="80" name="Graphic 79">
                <a:extLst>
                  <a:ext uri="{FF2B5EF4-FFF2-40B4-BE49-F238E27FC236}">
                    <a16:creationId xmlns:a16="http://schemas.microsoft.com/office/drawing/2014/main" id="{D63BC2D5-C124-4828-B440-4ADE19C480D9}"/>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17236"/>
              <a:stretch/>
            </p:blipFill>
            <p:spPr>
              <a:xfrm>
                <a:off x="8538609" y="1989993"/>
                <a:ext cx="2109767" cy="2182646"/>
              </a:xfrm>
              <a:prstGeom prst="rect">
                <a:avLst/>
              </a:prstGeom>
            </p:spPr>
          </p:pic>
          <p:sp>
            <p:nvSpPr>
              <p:cNvPr id="81" name="TextBox 80">
                <a:extLst>
                  <a:ext uri="{FF2B5EF4-FFF2-40B4-BE49-F238E27FC236}">
                    <a16:creationId xmlns:a16="http://schemas.microsoft.com/office/drawing/2014/main" id="{64FC3D68-5CAC-4281-B3B1-F9C4D8D5C2C7}"/>
                  </a:ext>
                </a:extLst>
              </p:cNvPr>
              <p:cNvSpPr txBox="1"/>
              <p:nvPr/>
            </p:nvSpPr>
            <p:spPr>
              <a:xfrm>
                <a:off x="8691283" y="1759160"/>
                <a:ext cx="1804417" cy="461665"/>
              </a:xfrm>
              <a:prstGeom prst="rect">
                <a:avLst/>
              </a:prstGeom>
              <a:noFill/>
            </p:spPr>
            <p:txBody>
              <a:bodyPr wrap="square">
                <a:spAutoFit/>
              </a:bodyPr>
              <a:lstStyle/>
              <a:p>
                <a:pPr algn="ctr"/>
                <a:r>
                  <a:rPr lang="en-US" sz="2400" dirty="0" err="1">
                    <a:solidFill>
                      <a:schemeClr val="bg1"/>
                    </a:solidFill>
                    <a:latin typeface="Quicksand Book" panose="02070303000000060000" pitchFamily="18" charset="0"/>
                  </a:rPr>
                  <a:t>ElderCare</a:t>
                </a:r>
                <a:endParaRPr lang="en-SG" sz="2400" dirty="0">
                  <a:solidFill>
                    <a:schemeClr val="bg1"/>
                  </a:solidFill>
                  <a:latin typeface="Quicksand Book" panose="02070303000000060000" pitchFamily="18" charset="0"/>
                </a:endParaRPr>
              </a:p>
            </p:txBody>
          </p:sp>
        </p:grpSp>
      </p:grpSp>
    </p:spTree>
    <p:extLst>
      <p:ext uri="{BB962C8B-B14F-4D97-AF65-F5344CB8AC3E}">
        <p14:creationId xmlns:p14="http://schemas.microsoft.com/office/powerpoint/2010/main" val="374216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6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60000" fill="hold" nodeType="clickEffect">
                                  <p:stCondLst>
                                    <p:cond delay="0"/>
                                  </p:stCondLst>
                                  <p:childTnLst>
                                    <p:set>
                                      <p:cBhvr>
                                        <p:cTn id="12" dur="1" fill="hold">
                                          <p:stCondLst>
                                            <p:cond delay="0"/>
                                          </p:stCondLst>
                                        </p:cTn>
                                        <p:tgtEl>
                                          <p:spTgt spid="83"/>
                                        </p:tgtEl>
                                        <p:attrNameLst>
                                          <p:attrName>style.visibility</p:attrName>
                                        </p:attrNameLst>
                                      </p:cBhvr>
                                      <p:to>
                                        <p:strVal val="visible"/>
                                      </p:to>
                                    </p:set>
                                    <p:anim calcmode="lin" valueType="num">
                                      <p:cBhvr additive="base">
                                        <p:cTn id="13" dur="500" fill="hold"/>
                                        <p:tgtEl>
                                          <p:spTgt spid="83"/>
                                        </p:tgtEl>
                                        <p:attrNameLst>
                                          <p:attrName>ppt_x</p:attrName>
                                        </p:attrNameLst>
                                      </p:cBhvr>
                                      <p:tavLst>
                                        <p:tav tm="0">
                                          <p:val>
                                            <p:strVal val="1+#ppt_w/2"/>
                                          </p:val>
                                        </p:tav>
                                        <p:tav tm="100000">
                                          <p:val>
                                            <p:strVal val="#ppt_x"/>
                                          </p:val>
                                        </p:tav>
                                      </p:tavLst>
                                    </p:anim>
                                    <p:anim calcmode="lin" valueType="num">
                                      <p:cBhvr additive="base">
                                        <p:cTn id="14" dur="500" fill="hold"/>
                                        <p:tgtEl>
                                          <p:spTgt spid="8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May be an image of text that says '3lAgytech Simplifying Engineering'">
            <a:extLst>
              <a:ext uri="{FF2B5EF4-FFF2-40B4-BE49-F238E27FC236}">
                <a16:creationId xmlns:a16="http://schemas.microsoft.com/office/drawing/2014/main" id="{E87FF0E9-32E6-426A-B0ED-CF27E764FC1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29211" b="26579"/>
          <a:stretch/>
        </p:blipFill>
        <p:spPr bwMode="auto">
          <a:xfrm>
            <a:off x="10782300" y="163630"/>
            <a:ext cx="1219200" cy="53901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D0EFE246-7020-4BA5-BA0D-460C32156227}"/>
              </a:ext>
            </a:extLst>
          </p:cNvPr>
          <p:cNvGrpSpPr/>
          <p:nvPr/>
        </p:nvGrpSpPr>
        <p:grpSpPr>
          <a:xfrm>
            <a:off x="907198" y="3591820"/>
            <a:ext cx="10294336" cy="1969227"/>
            <a:chOff x="907198" y="2144020"/>
            <a:chExt cx="10294336" cy="1969227"/>
          </a:xfrm>
        </p:grpSpPr>
        <p:cxnSp>
          <p:nvCxnSpPr>
            <p:cNvPr id="14" name="Straight Connector 13">
              <a:extLst>
                <a:ext uri="{FF2B5EF4-FFF2-40B4-BE49-F238E27FC236}">
                  <a16:creationId xmlns:a16="http://schemas.microsoft.com/office/drawing/2014/main" id="{A0590206-0ED7-4C9C-A08F-015B611652EF}"/>
                </a:ext>
              </a:extLst>
            </p:cNvPr>
            <p:cNvCxnSpPr>
              <a:cxnSpLocks/>
            </p:cNvCxnSpPr>
            <p:nvPr/>
          </p:nvCxnSpPr>
          <p:spPr>
            <a:xfrm>
              <a:off x="2598211" y="2617938"/>
              <a:ext cx="8324485" cy="0"/>
            </a:xfrm>
            <a:prstGeom prst="line">
              <a:avLst/>
            </a:prstGeom>
            <a:ln w="28575">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3C2B16DD-F023-4029-9C7E-B906517F9E25}"/>
                </a:ext>
              </a:extLst>
            </p:cNvPr>
            <p:cNvSpPr txBox="1">
              <a:spLocks/>
            </p:cNvSpPr>
            <p:nvPr/>
          </p:nvSpPr>
          <p:spPr>
            <a:xfrm>
              <a:off x="2057534" y="2724839"/>
              <a:ext cx="9144000" cy="1388408"/>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SG" sz="11500" dirty="0">
                  <a:solidFill>
                    <a:schemeClr val="bg1"/>
                  </a:solidFill>
                  <a:latin typeface="Bebas Neue" panose="020B0606020202050201" pitchFamily="34" charset="0"/>
                </a:rPr>
                <a:t>Our user storyboard</a:t>
              </a:r>
            </a:p>
          </p:txBody>
        </p:sp>
        <p:cxnSp>
          <p:nvCxnSpPr>
            <p:cNvPr id="15" name="Straight Connector 14">
              <a:extLst>
                <a:ext uri="{FF2B5EF4-FFF2-40B4-BE49-F238E27FC236}">
                  <a16:creationId xmlns:a16="http://schemas.microsoft.com/office/drawing/2014/main" id="{E78CEFD2-5E9F-4E60-B9FC-12B5E4410B92}"/>
                </a:ext>
              </a:extLst>
            </p:cNvPr>
            <p:cNvCxnSpPr>
              <a:cxnSpLocks/>
            </p:cNvCxnSpPr>
            <p:nvPr/>
          </p:nvCxnSpPr>
          <p:spPr>
            <a:xfrm>
              <a:off x="1671284" y="3860105"/>
              <a:ext cx="9251412" cy="0"/>
            </a:xfrm>
            <a:prstGeom prst="line">
              <a:avLst/>
            </a:prstGeom>
            <a:ln w="28575">
              <a:solidFill>
                <a:schemeClr val="bg1"/>
              </a:solidFill>
              <a:prstDash val="lgDash"/>
            </a:ln>
          </p:spPr>
          <p:style>
            <a:lnRef idx="1">
              <a:schemeClr val="accent1"/>
            </a:lnRef>
            <a:fillRef idx="0">
              <a:schemeClr val="accent1"/>
            </a:fillRef>
            <a:effectRef idx="0">
              <a:schemeClr val="accent1"/>
            </a:effectRef>
            <a:fontRef idx="minor">
              <a:schemeClr val="tx1"/>
            </a:fontRef>
          </p:style>
        </p:cxnSp>
        <p:grpSp>
          <p:nvGrpSpPr>
            <p:cNvPr id="5" name="Gears" descr="{&quot;Key&quot;:&quot;POWER_USER_SHAPE_ICON&quot;,&quot;Value&quot;:&quot;POWER_USER_SHAPE_ICON_STYLE_1&quot;}">
              <a:extLst>
                <a:ext uri="{FF2B5EF4-FFF2-40B4-BE49-F238E27FC236}">
                  <a16:creationId xmlns:a16="http://schemas.microsoft.com/office/drawing/2014/main" id="{A54A2B0A-6E38-455B-9231-C304C62E2DA1}"/>
                </a:ext>
              </a:extLst>
            </p:cNvPr>
            <p:cNvGrpSpPr>
              <a:grpSpLocks noChangeAspect="1"/>
            </p:cNvGrpSpPr>
            <p:nvPr>
              <p:custDataLst>
                <p:tags r:id="rId1"/>
              </p:custDataLst>
            </p:nvPr>
          </p:nvGrpSpPr>
          <p:grpSpPr bwMode="auto">
            <a:xfrm>
              <a:off x="907198" y="2144020"/>
              <a:ext cx="1797902" cy="1918567"/>
              <a:chOff x="8" y="8"/>
              <a:chExt cx="447" cy="477"/>
            </a:xfrm>
            <a:solidFill>
              <a:schemeClr val="bg1"/>
            </a:solidFill>
          </p:grpSpPr>
          <p:sp>
            <p:nvSpPr>
              <p:cNvPr id="6" name="Gears">
                <a:extLst>
                  <a:ext uri="{FF2B5EF4-FFF2-40B4-BE49-F238E27FC236}">
                    <a16:creationId xmlns:a16="http://schemas.microsoft.com/office/drawing/2014/main" id="{297E917E-D446-46B9-BE36-0309ACCA96CB}"/>
                  </a:ext>
                </a:extLst>
              </p:cNvPr>
              <p:cNvSpPr>
                <a:spLocks noEditPoints="1"/>
              </p:cNvSpPr>
              <p:nvPr>
                <p:custDataLst>
                  <p:tags r:id="rId2"/>
                </p:custDataLst>
              </p:nvPr>
            </p:nvSpPr>
            <p:spPr bwMode="auto">
              <a:xfrm>
                <a:off x="209" y="8"/>
                <a:ext cx="246" cy="246"/>
              </a:xfrm>
              <a:custGeom>
                <a:avLst/>
                <a:gdLst>
                  <a:gd name="T0" fmla="*/ 569 w 630"/>
                  <a:gd name="T1" fmla="*/ 128 h 630"/>
                  <a:gd name="T2" fmla="*/ 501 w 630"/>
                  <a:gd name="T3" fmla="*/ 63 h 630"/>
                  <a:gd name="T4" fmla="*/ 415 w 630"/>
                  <a:gd name="T5" fmla="*/ 101 h 630"/>
                  <a:gd name="T6" fmla="*/ 372 w 630"/>
                  <a:gd name="T7" fmla="*/ 86 h 630"/>
                  <a:gd name="T8" fmla="*/ 325 w 630"/>
                  <a:gd name="T9" fmla="*/ 0 h 630"/>
                  <a:gd name="T10" fmla="*/ 305 w 630"/>
                  <a:gd name="T11" fmla="*/ 0 h 630"/>
                  <a:gd name="T12" fmla="*/ 262 w 630"/>
                  <a:gd name="T13" fmla="*/ 85 h 630"/>
                  <a:gd name="T14" fmla="*/ 245 w 630"/>
                  <a:gd name="T15" fmla="*/ 89 h 630"/>
                  <a:gd name="T16" fmla="*/ 191 w 630"/>
                  <a:gd name="T17" fmla="*/ 114 h 630"/>
                  <a:gd name="T18" fmla="*/ 127 w 630"/>
                  <a:gd name="T19" fmla="*/ 61 h 630"/>
                  <a:gd name="T20" fmla="*/ 91 w 630"/>
                  <a:gd name="T21" fmla="*/ 94 h 630"/>
                  <a:gd name="T22" fmla="*/ 62 w 630"/>
                  <a:gd name="T23" fmla="*/ 129 h 630"/>
                  <a:gd name="T24" fmla="*/ 100 w 630"/>
                  <a:gd name="T25" fmla="*/ 215 h 630"/>
                  <a:gd name="T26" fmla="*/ 85 w 630"/>
                  <a:gd name="T27" fmla="*/ 260 h 630"/>
                  <a:gd name="T28" fmla="*/ 0 w 630"/>
                  <a:gd name="T29" fmla="*/ 308 h 630"/>
                  <a:gd name="T30" fmla="*/ 85 w 630"/>
                  <a:gd name="T31" fmla="*/ 370 h 630"/>
                  <a:gd name="T32" fmla="*/ 100 w 630"/>
                  <a:gd name="T33" fmla="*/ 416 h 630"/>
                  <a:gd name="T34" fmla="*/ 64 w 630"/>
                  <a:gd name="T35" fmla="*/ 504 h 630"/>
                  <a:gd name="T36" fmla="*/ 131 w 630"/>
                  <a:gd name="T37" fmla="*/ 570 h 630"/>
                  <a:gd name="T38" fmla="*/ 193 w 630"/>
                  <a:gd name="T39" fmla="*/ 519 h 630"/>
                  <a:gd name="T40" fmla="*/ 248 w 630"/>
                  <a:gd name="T41" fmla="*/ 543 h 630"/>
                  <a:gd name="T42" fmla="*/ 270 w 630"/>
                  <a:gd name="T43" fmla="*/ 628 h 630"/>
                  <a:gd name="T44" fmla="*/ 324 w 630"/>
                  <a:gd name="T45" fmla="*/ 630 h 630"/>
                  <a:gd name="T46" fmla="*/ 372 w 630"/>
                  <a:gd name="T47" fmla="*/ 545 h 630"/>
                  <a:gd name="T48" fmla="*/ 384 w 630"/>
                  <a:gd name="T49" fmla="*/ 541 h 630"/>
                  <a:gd name="T50" fmla="*/ 441 w 630"/>
                  <a:gd name="T51" fmla="*/ 515 h 630"/>
                  <a:gd name="T52" fmla="*/ 505 w 630"/>
                  <a:gd name="T53" fmla="*/ 568 h 630"/>
                  <a:gd name="T54" fmla="*/ 538 w 630"/>
                  <a:gd name="T55" fmla="*/ 538 h 630"/>
                  <a:gd name="T56" fmla="*/ 518 w 630"/>
                  <a:gd name="T57" fmla="*/ 438 h 630"/>
                  <a:gd name="T58" fmla="*/ 530 w 630"/>
                  <a:gd name="T59" fmla="*/ 415 h 630"/>
                  <a:gd name="T60" fmla="*/ 542 w 630"/>
                  <a:gd name="T61" fmla="*/ 383 h 630"/>
                  <a:gd name="T62" fmla="*/ 626 w 630"/>
                  <a:gd name="T63" fmla="*/ 364 h 630"/>
                  <a:gd name="T64" fmla="*/ 630 w 630"/>
                  <a:gd name="T65" fmla="*/ 315 h 630"/>
                  <a:gd name="T66" fmla="*/ 626 w 630"/>
                  <a:gd name="T67" fmla="*/ 268 h 630"/>
                  <a:gd name="T68" fmla="*/ 542 w 630"/>
                  <a:gd name="T69" fmla="*/ 249 h 630"/>
                  <a:gd name="T70" fmla="*/ 517 w 630"/>
                  <a:gd name="T71" fmla="*/ 191 h 630"/>
                  <a:gd name="T72" fmla="*/ 235 w 630"/>
                  <a:gd name="T73" fmla="*/ 233 h 630"/>
                  <a:gd name="T74" fmla="*/ 399 w 630"/>
                  <a:gd name="T75" fmla="*/ 233 h 630"/>
                  <a:gd name="T76" fmla="*/ 399 w 630"/>
                  <a:gd name="T77" fmla="*/ 396 h 630"/>
                  <a:gd name="T78" fmla="*/ 235 w 630"/>
                  <a:gd name="T79" fmla="*/ 396 h 630"/>
                  <a:gd name="T80" fmla="*/ 235 w 630"/>
                  <a:gd name="T81" fmla="*/ 233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0" h="630">
                    <a:moveTo>
                      <a:pt x="569" y="129"/>
                    </a:moveTo>
                    <a:lnTo>
                      <a:pt x="569" y="128"/>
                    </a:lnTo>
                    <a:cubicBezTo>
                      <a:pt x="550" y="103"/>
                      <a:pt x="527" y="81"/>
                      <a:pt x="501" y="61"/>
                    </a:cubicBezTo>
                    <a:lnTo>
                      <a:pt x="501" y="63"/>
                    </a:lnTo>
                    <a:cubicBezTo>
                      <a:pt x="480" y="79"/>
                      <a:pt x="458" y="96"/>
                      <a:pt x="438" y="114"/>
                    </a:cubicBezTo>
                    <a:cubicBezTo>
                      <a:pt x="430" y="109"/>
                      <a:pt x="422" y="105"/>
                      <a:pt x="415" y="101"/>
                    </a:cubicBezTo>
                    <a:cubicBezTo>
                      <a:pt x="405" y="96"/>
                      <a:pt x="395" y="91"/>
                      <a:pt x="383" y="89"/>
                    </a:cubicBezTo>
                    <a:cubicBezTo>
                      <a:pt x="380" y="88"/>
                      <a:pt x="376" y="86"/>
                      <a:pt x="372" y="86"/>
                    </a:cubicBezTo>
                    <a:cubicBezTo>
                      <a:pt x="370" y="59"/>
                      <a:pt x="367" y="31"/>
                      <a:pt x="363" y="4"/>
                    </a:cubicBezTo>
                    <a:cubicBezTo>
                      <a:pt x="351" y="1"/>
                      <a:pt x="338" y="1"/>
                      <a:pt x="325" y="0"/>
                    </a:cubicBezTo>
                    <a:lnTo>
                      <a:pt x="315" y="0"/>
                    </a:lnTo>
                    <a:lnTo>
                      <a:pt x="305" y="0"/>
                    </a:lnTo>
                    <a:cubicBezTo>
                      <a:pt x="292" y="1"/>
                      <a:pt x="281" y="1"/>
                      <a:pt x="270" y="4"/>
                    </a:cubicBezTo>
                    <a:cubicBezTo>
                      <a:pt x="266" y="30"/>
                      <a:pt x="263" y="57"/>
                      <a:pt x="262" y="85"/>
                    </a:cubicBezTo>
                    <a:cubicBezTo>
                      <a:pt x="257" y="85"/>
                      <a:pt x="253" y="86"/>
                      <a:pt x="248" y="88"/>
                    </a:cubicBezTo>
                    <a:cubicBezTo>
                      <a:pt x="247" y="88"/>
                      <a:pt x="246" y="88"/>
                      <a:pt x="245" y="89"/>
                    </a:cubicBezTo>
                    <a:cubicBezTo>
                      <a:pt x="235" y="91"/>
                      <a:pt x="225" y="96"/>
                      <a:pt x="215" y="101"/>
                    </a:cubicBezTo>
                    <a:cubicBezTo>
                      <a:pt x="206" y="105"/>
                      <a:pt x="198" y="109"/>
                      <a:pt x="191" y="114"/>
                    </a:cubicBezTo>
                    <a:cubicBezTo>
                      <a:pt x="170" y="96"/>
                      <a:pt x="150" y="80"/>
                      <a:pt x="128" y="63"/>
                    </a:cubicBezTo>
                    <a:lnTo>
                      <a:pt x="127" y="61"/>
                    </a:lnTo>
                    <a:cubicBezTo>
                      <a:pt x="122" y="65"/>
                      <a:pt x="117" y="69"/>
                      <a:pt x="113" y="73"/>
                    </a:cubicBezTo>
                    <a:cubicBezTo>
                      <a:pt x="105" y="79"/>
                      <a:pt x="97" y="86"/>
                      <a:pt x="91" y="94"/>
                    </a:cubicBezTo>
                    <a:cubicBezTo>
                      <a:pt x="80" y="104"/>
                      <a:pt x="71" y="116"/>
                      <a:pt x="61" y="129"/>
                    </a:cubicBezTo>
                    <a:lnTo>
                      <a:pt x="62" y="129"/>
                    </a:lnTo>
                    <a:cubicBezTo>
                      <a:pt x="78" y="150"/>
                      <a:pt x="96" y="170"/>
                      <a:pt x="114" y="191"/>
                    </a:cubicBezTo>
                    <a:cubicBezTo>
                      <a:pt x="109" y="199"/>
                      <a:pt x="104" y="208"/>
                      <a:pt x="100" y="215"/>
                    </a:cubicBezTo>
                    <a:cubicBezTo>
                      <a:pt x="95" y="225"/>
                      <a:pt x="91" y="236"/>
                      <a:pt x="89" y="246"/>
                    </a:cubicBezTo>
                    <a:cubicBezTo>
                      <a:pt x="86" y="251"/>
                      <a:pt x="85" y="256"/>
                      <a:pt x="85" y="260"/>
                    </a:cubicBezTo>
                    <a:cubicBezTo>
                      <a:pt x="57" y="263"/>
                      <a:pt x="30" y="265"/>
                      <a:pt x="4" y="269"/>
                    </a:cubicBezTo>
                    <a:cubicBezTo>
                      <a:pt x="1" y="281"/>
                      <a:pt x="0" y="294"/>
                      <a:pt x="0" y="308"/>
                    </a:cubicBezTo>
                    <a:cubicBezTo>
                      <a:pt x="0" y="326"/>
                      <a:pt x="1" y="345"/>
                      <a:pt x="5" y="363"/>
                    </a:cubicBezTo>
                    <a:cubicBezTo>
                      <a:pt x="31" y="365"/>
                      <a:pt x="57" y="368"/>
                      <a:pt x="85" y="370"/>
                    </a:cubicBezTo>
                    <a:cubicBezTo>
                      <a:pt x="85" y="375"/>
                      <a:pt x="86" y="380"/>
                      <a:pt x="89" y="384"/>
                    </a:cubicBezTo>
                    <a:cubicBezTo>
                      <a:pt x="91" y="395"/>
                      <a:pt x="95" y="405"/>
                      <a:pt x="100" y="416"/>
                    </a:cubicBezTo>
                    <a:cubicBezTo>
                      <a:pt x="105" y="425"/>
                      <a:pt x="109" y="434"/>
                      <a:pt x="115" y="441"/>
                    </a:cubicBezTo>
                    <a:cubicBezTo>
                      <a:pt x="97" y="463"/>
                      <a:pt x="80" y="483"/>
                      <a:pt x="64" y="504"/>
                    </a:cubicBezTo>
                    <a:cubicBezTo>
                      <a:pt x="82" y="530"/>
                      <a:pt x="105" y="553"/>
                      <a:pt x="131" y="571"/>
                    </a:cubicBezTo>
                    <a:lnTo>
                      <a:pt x="131" y="570"/>
                    </a:lnTo>
                    <a:cubicBezTo>
                      <a:pt x="151" y="554"/>
                      <a:pt x="172" y="536"/>
                      <a:pt x="192" y="519"/>
                    </a:cubicBezTo>
                    <a:lnTo>
                      <a:pt x="193" y="519"/>
                    </a:lnTo>
                    <a:cubicBezTo>
                      <a:pt x="200" y="523"/>
                      <a:pt x="207" y="526"/>
                      <a:pt x="214" y="530"/>
                    </a:cubicBezTo>
                    <a:cubicBezTo>
                      <a:pt x="225" y="535"/>
                      <a:pt x="237" y="540"/>
                      <a:pt x="248" y="543"/>
                    </a:cubicBezTo>
                    <a:cubicBezTo>
                      <a:pt x="253" y="544"/>
                      <a:pt x="257" y="545"/>
                      <a:pt x="261" y="546"/>
                    </a:cubicBezTo>
                    <a:cubicBezTo>
                      <a:pt x="264" y="573"/>
                      <a:pt x="266" y="600"/>
                      <a:pt x="270" y="628"/>
                    </a:cubicBezTo>
                    <a:cubicBezTo>
                      <a:pt x="281" y="629"/>
                      <a:pt x="292" y="630"/>
                      <a:pt x="305" y="630"/>
                    </a:cubicBezTo>
                    <a:lnTo>
                      <a:pt x="324" y="630"/>
                    </a:lnTo>
                    <a:cubicBezTo>
                      <a:pt x="337" y="630"/>
                      <a:pt x="351" y="629"/>
                      <a:pt x="365" y="626"/>
                    </a:cubicBezTo>
                    <a:cubicBezTo>
                      <a:pt x="367" y="600"/>
                      <a:pt x="370" y="573"/>
                      <a:pt x="372" y="545"/>
                    </a:cubicBezTo>
                    <a:lnTo>
                      <a:pt x="384" y="541"/>
                    </a:lnTo>
                    <a:lnTo>
                      <a:pt x="384" y="541"/>
                    </a:lnTo>
                    <a:cubicBezTo>
                      <a:pt x="395" y="539"/>
                      <a:pt x="405" y="535"/>
                      <a:pt x="415" y="530"/>
                    </a:cubicBezTo>
                    <a:cubicBezTo>
                      <a:pt x="424" y="526"/>
                      <a:pt x="432" y="521"/>
                      <a:pt x="441" y="515"/>
                    </a:cubicBezTo>
                    <a:cubicBezTo>
                      <a:pt x="441" y="516"/>
                      <a:pt x="441" y="516"/>
                      <a:pt x="442" y="516"/>
                    </a:cubicBezTo>
                    <a:cubicBezTo>
                      <a:pt x="462" y="534"/>
                      <a:pt x="483" y="551"/>
                      <a:pt x="505" y="568"/>
                    </a:cubicBezTo>
                    <a:cubicBezTo>
                      <a:pt x="508" y="565"/>
                      <a:pt x="512" y="563"/>
                      <a:pt x="517" y="559"/>
                    </a:cubicBezTo>
                    <a:cubicBezTo>
                      <a:pt x="525" y="553"/>
                      <a:pt x="532" y="545"/>
                      <a:pt x="538" y="538"/>
                    </a:cubicBezTo>
                    <a:cubicBezTo>
                      <a:pt x="550" y="526"/>
                      <a:pt x="561" y="514"/>
                      <a:pt x="571" y="500"/>
                    </a:cubicBezTo>
                    <a:cubicBezTo>
                      <a:pt x="553" y="479"/>
                      <a:pt x="536" y="458"/>
                      <a:pt x="518" y="438"/>
                    </a:cubicBezTo>
                    <a:lnTo>
                      <a:pt x="518" y="436"/>
                    </a:lnTo>
                    <a:cubicBezTo>
                      <a:pt x="522" y="430"/>
                      <a:pt x="526" y="422"/>
                      <a:pt x="530" y="415"/>
                    </a:cubicBezTo>
                    <a:cubicBezTo>
                      <a:pt x="533" y="405"/>
                      <a:pt x="538" y="395"/>
                      <a:pt x="541" y="385"/>
                    </a:cubicBezTo>
                    <a:cubicBezTo>
                      <a:pt x="541" y="384"/>
                      <a:pt x="541" y="383"/>
                      <a:pt x="542" y="383"/>
                    </a:cubicBezTo>
                    <a:cubicBezTo>
                      <a:pt x="542" y="378"/>
                      <a:pt x="543" y="374"/>
                      <a:pt x="545" y="371"/>
                    </a:cubicBezTo>
                    <a:cubicBezTo>
                      <a:pt x="572" y="369"/>
                      <a:pt x="600" y="366"/>
                      <a:pt x="626" y="364"/>
                    </a:cubicBezTo>
                    <a:cubicBezTo>
                      <a:pt x="629" y="351"/>
                      <a:pt x="629" y="339"/>
                      <a:pt x="630" y="326"/>
                    </a:cubicBezTo>
                    <a:lnTo>
                      <a:pt x="630" y="315"/>
                    </a:lnTo>
                    <a:lnTo>
                      <a:pt x="630" y="305"/>
                    </a:lnTo>
                    <a:cubicBezTo>
                      <a:pt x="629" y="293"/>
                      <a:pt x="629" y="280"/>
                      <a:pt x="626" y="268"/>
                    </a:cubicBezTo>
                    <a:cubicBezTo>
                      <a:pt x="600" y="265"/>
                      <a:pt x="572" y="263"/>
                      <a:pt x="545" y="260"/>
                    </a:cubicBezTo>
                    <a:cubicBezTo>
                      <a:pt x="544" y="256"/>
                      <a:pt x="542" y="252"/>
                      <a:pt x="542" y="249"/>
                    </a:cubicBezTo>
                    <a:cubicBezTo>
                      <a:pt x="538" y="238"/>
                      <a:pt x="535" y="226"/>
                      <a:pt x="530" y="215"/>
                    </a:cubicBezTo>
                    <a:cubicBezTo>
                      <a:pt x="526" y="207"/>
                      <a:pt x="521" y="199"/>
                      <a:pt x="517" y="191"/>
                    </a:cubicBezTo>
                    <a:cubicBezTo>
                      <a:pt x="534" y="171"/>
                      <a:pt x="551" y="150"/>
                      <a:pt x="569" y="129"/>
                    </a:cubicBezTo>
                    <a:close/>
                    <a:moveTo>
                      <a:pt x="235" y="233"/>
                    </a:moveTo>
                    <a:cubicBezTo>
                      <a:pt x="257" y="209"/>
                      <a:pt x="285" y="198"/>
                      <a:pt x="316" y="199"/>
                    </a:cubicBezTo>
                    <a:cubicBezTo>
                      <a:pt x="349" y="198"/>
                      <a:pt x="375" y="209"/>
                      <a:pt x="399" y="233"/>
                    </a:cubicBezTo>
                    <a:cubicBezTo>
                      <a:pt x="421" y="255"/>
                      <a:pt x="432" y="283"/>
                      <a:pt x="432" y="314"/>
                    </a:cubicBezTo>
                    <a:cubicBezTo>
                      <a:pt x="432" y="346"/>
                      <a:pt x="421" y="373"/>
                      <a:pt x="399" y="396"/>
                    </a:cubicBezTo>
                    <a:cubicBezTo>
                      <a:pt x="375" y="419"/>
                      <a:pt x="349" y="430"/>
                      <a:pt x="316" y="430"/>
                    </a:cubicBezTo>
                    <a:cubicBezTo>
                      <a:pt x="285" y="430"/>
                      <a:pt x="257" y="419"/>
                      <a:pt x="235" y="396"/>
                    </a:cubicBezTo>
                    <a:cubicBezTo>
                      <a:pt x="212" y="373"/>
                      <a:pt x="201" y="346"/>
                      <a:pt x="201" y="314"/>
                    </a:cubicBezTo>
                    <a:cubicBezTo>
                      <a:pt x="201" y="283"/>
                      <a:pt x="212" y="255"/>
                      <a:pt x="235" y="233"/>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chemeClr val="tx1"/>
                    </a:solidFill>
                  </a:ln>
                  <a:solidFill>
                    <a:prstClr val="black"/>
                  </a:solidFill>
                  <a:effectLst/>
                  <a:uLnTx/>
                  <a:uFillTx/>
                  <a:latin typeface="Calibri" panose="020F0502020204030204"/>
                  <a:ea typeface="+mn-ea"/>
                  <a:cs typeface="+mn-cs"/>
                </a:endParaRPr>
              </a:p>
            </p:txBody>
          </p:sp>
          <p:sp>
            <p:nvSpPr>
              <p:cNvPr id="7" name="Gears">
                <a:extLst>
                  <a:ext uri="{FF2B5EF4-FFF2-40B4-BE49-F238E27FC236}">
                    <a16:creationId xmlns:a16="http://schemas.microsoft.com/office/drawing/2014/main" id="{107451A6-3D20-4303-8C62-3821E899514E}"/>
                  </a:ext>
                </a:extLst>
              </p:cNvPr>
              <p:cNvSpPr>
                <a:spLocks noEditPoints="1"/>
              </p:cNvSpPr>
              <p:nvPr>
                <p:custDataLst>
                  <p:tags r:id="rId3"/>
                </p:custDataLst>
              </p:nvPr>
            </p:nvSpPr>
            <p:spPr bwMode="auto">
              <a:xfrm>
                <a:off x="294" y="92"/>
                <a:ext cx="77" cy="78"/>
              </a:xfrm>
              <a:custGeom>
                <a:avLst/>
                <a:gdLst>
                  <a:gd name="T0" fmla="*/ 98 w 197"/>
                  <a:gd name="T1" fmla="*/ 0 h 199"/>
                  <a:gd name="T2" fmla="*/ 28 w 197"/>
                  <a:gd name="T3" fmla="*/ 29 h 199"/>
                  <a:gd name="T4" fmla="*/ 0 w 197"/>
                  <a:gd name="T5" fmla="*/ 99 h 199"/>
                  <a:gd name="T6" fmla="*/ 28 w 197"/>
                  <a:gd name="T7" fmla="*/ 169 h 199"/>
                  <a:gd name="T8" fmla="*/ 28 w 197"/>
                  <a:gd name="T9" fmla="*/ 169 h 199"/>
                  <a:gd name="T10" fmla="*/ 98 w 197"/>
                  <a:gd name="T11" fmla="*/ 199 h 199"/>
                  <a:gd name="T12" fmla="*/ 168 w 197"/>
                  <a:gd name="T13" fmla="*/ 169 h 199"/>
                  <a:gd name="T14" fmla="*/ 168 w 197"/>
                  <a:gd name="T15" fmla="*/ 169 h 199"/>
                  <a:gd name="T16" fmla="*/ 197 w 197"/>
                  <a:gd name="T17" fmla="*/ 99 h 199"/>
                  <a:gd name="T18" fmla="*/ 197 w 197"/>
                  <a:gd name="T19" fmla="*/ 99 h 199"/>
                  <a:gd name="T20" fmla="*/ 168 w 197"/>
                  <a:gd name="T21" fmla="*/ 29 h 199"/>
                  <a:gd name="T22" fmla="*/ 98 w 197"/>
                  <a:gd name="T23" fmla="*/ 0 h 199"/>
                  <a:gd name="T24" fmla="*/ 46 w 197"/>
                  <a:gd name="T25" fmla="*/ 46 h 199"/>
                  <a:gd name="T26" fmla="*/ 98 w 197"/>
                  <a:gd name="T27" fmla="*/ 25 h 199"/>
                  <a:gd name="T28" fmla="*/ 151 w 197"/>
                  <a:gd name="T29" fmla="*/ 46 h 199"/>
                  <a:gd name="T30" fmla="*/ 172 w 197"/>
                  <a:gd name="T31" fmla="*/ 99 h 199"/>
                  <a:gd name="T32" fmla="*/ 172 w 197"/>
                  <a:gd name="T33" fmla="*/ 99 h 199"/>
                  <a:gd name="T34" fmla="*/ 151 w 197"/>
                  <a:gd name="T35" fmla="*/ 151 h 199"/>
                  <a:gd name="T36" fmla="*/ 98 w 197"/>
                  <a:gd name="T37" fmla="*/ 174 h 199"/>
                  <a:gd name="T38" fmla="*/ 46 w 197"/>
                  <a:gd name="T39" fmla="*/ 151 h 199"/>
                  <a:gd name="T40" fmla="*/ 24 w 197"/>
                  <a:gd name="T41" fmla="*/ 99 h 199"/>
                  <a:gd name="T42" fmla="*/ 46 w 197"/>
                  <a:gd name="T43" fmla="*/ 4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7" h="199">
                    <a:moveTo>
                      <a:pt x="98" y="0"/>
                    </a:moveTo>
                    <a:cubicBezTo>
                      <a:pt x="71" y="0"/>
                      <a:pt x="48" y="10"/>
                      <a:pt x="28" y="29"/>
                    </a:cubicBezTo>
                    <a:cubicBezTo>
                      <a:pt x="10" y="49"/>
                      <a:pt x="0" y="71"/>
                      <a:pt x="0" y="99"/>
                    </a:cubicBezTo>
                    <a:cubicBezTo>
                      <a:pt x="0" y="126"/>
                      <a:pt x="10" y="149"/>
                      <a:pt x="28" y="169"/>
                    </a:cubicBezTo>
                    <a:lnTo>
                      <a:pt x="28" y="169"/>
                    </a:lnTo>
                    <a:cubicBezTo>
                      <a:pt x="48" y="189"/>
                      <a:pt x="71" y="199"/>
                      <a:pt x="98" y="199"/>
                    </a:cubicBezTo>
                    <a:cubicBezTo>
                      <a:pt x="126" y="199"/>
                      <a:pt x="148" y="189"/>
                      <a:pt x="168" y="169"/>
                    </a:cubicBezTo>
                    <a:lnTo>
                      <a:pt x="168" y="169"/>
                    </a:lnTo>
                    <a:cubicBezTo>
                      <a:pt x="188" y="149"/>
                      <a:pt x="197" y="126"/>
                      <a:pt x="197" y="99"/>
                    </a:cubicBezTo>
                    <a:lnTo>
                      <a:pt x="197" y="99"/>
                    </a:lnTo>
                    <a:cubicBezTo>
                      <a:pt x="197" y="71"/>
                      <a:pt x="188" y="49"/>
                      <a:pt x="168" y="29"/>
                    </a:cubicBezTo>
                    <a:cubicBezTo>
                      <a:pt x="148" y="10"/>
                      <a:pt x="126" y="0"/>
                      <a:pt x="98" y="0"/>
                    </a:cubicBezTo>
                    <a:close/>
                    <a:moveTo>
                      <a:pt x="46" y="46"/>
                    </a:moveTo>
                    <a:cubicBezTo>
                      <a:pt x="61" y="32"/>
                      <a:pt x="78" y="25"/>
                      <a:pt x="98" y="25"/>
                    </a:cubicBezTo>
                    <a:cubicBezTo>
                      <a:pt x="118" y="25"/>
                      <a:pt x="136" y="33"/>
                      <a:pt x="151" y="46"/>
                    </a:cubicBezTo>
                    <a:cubicBezTo>
                      <a:pt x="166" y="61"/>
                      <a:pt x="172" y="78"/>
                      <a:pt x="172" y="99"/>
                    </a:cubicBezTo>
                    <a:lnTo>
                      <a:pt x="172" y="99"/>
                    </a:lnTo>
                    <a:cubicBezTo>
                      <a:pt x="172" y="120"/>
                      <a:pt x="166" y="138"/>
                      <a:pt x="151" y="151"/>
                    </a:cubicBezTo>
                    <a:cubicBezTo>
                      <a:pt x="136" y="166"/>
                      <a:pt x="118" y="174"/>
                      <a:pt x="98" y="174"/>
                    </a:cubicBezTo>
                    <a:cubicBezTo>
                      <a:pt x="78" y="174"/>
                      <a:pt x="61" y="166"/>
                      <a:pt x="46" y="151"/>
                    </a:cubicBezTo>
                    <a:cubicBezTo>
                      <a:pt x="32" y="137"/>
                      <a:pt x="24" y="120"/>
                      <a:pt x="24" y="99"/>
                    </a:cubicBezTo>
                    <a:cubicBezTo>
                      <a:pt x="25" y="79"/>
                      <a:pt x="32" y="61"/>
                      <a:pt x="46" y="46"/>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chemeClr val="tx1"/>
                    </a:solidFill>
                  </a:ln>
                  <a:solidFill>
                    <a:prstClr val="black"/>
                  </a:solidFill>
                  <a:effectLst/>
                  <a:uLnTx/>
                  <a:uFillTx/>
                  <a:latin typeface="Calibri" panose="020F0502020204030204"/>
                  <a:ea typeface="+mn-ea"/>
                  <a:cs typeface="+mn-cs"/>
                </a:endParaRPr>
              </a:p>
            </p:txBody>
          </p:sp>
          <p:sp>
            <p:nvSpPr>
              <p:cNvPr id="8" name="Gears">
                <a:extLst>
                  <a:ext uri="{FF2B5EF4-FFF2-40B4-BE49-F238E27FC236}">
                    <a16:creationId xmlns:a16="http://schemas.microsoft.com/office/drawing/2014/main" id="{5AD2600E-CC6D-4C09-BC18-B6E2ED4E7D13}"/>
                  </a:ext>
                </a:extLst>
              </p:cNvPr>
              <p:cNvSpPr>
                <a:spLocks noEditPoints="1"/>
              </p:cNvSpPr>
              <p:nvPr>
                <p:custDataLst>
                  <p:tags r:id="rId4"/>
                </p:custDataLst>
              </p:nvPr>
            </p:nvSpPr>
            <p:spPr bwMode="auto">
              <a:xfrm>
                <a:off x="8" y="167"/>
                <a:ext cx="316" cy="318"/>
              </a:xfrm>
              <a:custGeom>
                <a:avLst/>
                <a:gdLst>
                  <a:gd name="T0" fmla="*/ 497 w 810"/>
                  <a:gd name="T1" fmla="*/ 8 h 812"/>
                  <a:gd name="T2" fmla="*/ 416 w 810"/>
                  <a:gd name="T3" fmla="*/ 98 h 812"/>
                  <a:gd name="T4" fmla="*/ 394 w 810"/>
                  <a:gd name="T5" fmla="*/ 98 h 812"/>
                  <a:gd name="T6" fmla="*/ 318 w 810"/>
                  <a:gd name="T7" fmla="*/ 112 h 812"/>
                  <a:gd name="T8" fmla="*/ 255 w 810"/>
                  <a:gd name="T9" fmla="*/ 26 h 812"/>
                  <a:gd name="T10" fmla="*/ 199 w 810"/>
                  <a:gd name="T11" fmla="*/ 53 h 812"/>
                  <a:gd name="T12" fmla="*/ 150 w 810"/>
                  <a:gd name="T13" fmla="*/ 88 h 812"/>
                  <a:gd name="T14" fmla="*/ 170 w 810"/>
                  <a:gd name="T15" fmla="*/ 208 h 812"/>
                  <a:gd name="T16" fmla="*/ 144 w 810"/>
                  <a:gd name="T17" fmla="*/ 243 h 812"/>
                  <a:gd name="T18" fmla="*/ 30 w 810"/>
                  <a:gd name="T19" fmla="*/ 242 h 812"/>
                  <a:gd name="T20" fmla="*/ 0 w 810"/>
                  <a:gd name="T21" fmla="*/ 361 h 812"/>
                  <a:gd name="T22" fmla="*/ 97 w 810"/>
                  <a:gd name="T23" fmla="*/ 416 h 812"/>
                  <a:gd name="T24" fmla="*/ 111 w 810"/>
                  <a:gd name="T25" fmla="*/ 497 h 812"/>
                  <a:gd name="T26" fmla="*/ 87 w 810"/>
                  <a:gd name="T27" fmla="*/ 663 h 812"/>
                  <a:gd name="T28" fmla="*/ 184 w 810"/>
                  <a:gd name="T29" fmla="*/ 620 h 812"/>
                  <a:gd name="T30" fmla="*/ 206 w 810"/>
                  <a:gd name="T31" fmla="*/ 641 h 812"/>
                  <a:gd name="T32" fmla="*/ 260 w 810"/>
                  <a:gd name="T33" fmla="*/ 677 h 812"/>
                  <a:gd name="T34" fmla="*/ 286 w 810"/>
                  <a:gd name="T35" fmla="*/ 796 h 812"/>
                  <a:gd name="T36" fmla="*/ 361 w 810"/>
                  <a:gd name="T37" fmla="*/ 812 h 812"/>
                  <a:gd name="T38" fmla="*/ 414 w 810"/>
                  <a:gd name="T39" fmla="*/ 712 h 812"/>
                  <a:gd name="T40" fmla="*/ 458 w 810"/>
                  <a:gd name="T41" fmla="*/ 708 h 812"/>
                  <a:gd name="T42" fmla="*/ 496 w 810"/>
                  <a:gd name="T43" fmla="*/ 700 h 812"/>
                  <a:gd name="T44" fmla="*/ 575 w 810"/>
                  <a:gd name="T45" fmla="*/ 777 h 812"/>
                  <a:gd name="T46" fmla="*/ 663 w 810"/>
                  <a:gd name="T47" fmla="*/ 722 h 812"/>
                  <a:gd name="T48" fmla="*/ 619 w 810"/>
                  <a:gd name="T49" fmla="*/ 626 h 812"/>
                  <a:gd name="T50" fmla="*/ 665 w 810"/>
                  <a:gd name="T51" fmla="*/ 568 h 812"/>
                  <a:gd name="T52" fmla="*/ 674 w 810"/>
                  <a:gd name="T53" fmla="*/ 552 h 812"/>
                  <a:gd name="T54" fmla="*/ 795 w 810"/>
                  <a:gd name="T55" fmla="*/ 523 h 812"/>
                  <a:gd name="T56" fmla="*/ 803 w 810"/>
                  <a:gd name="T57" fmla="*/ 498 h 812"/>
                  <a:gd name="T58" fmla="*/ 711 w 810"/>
                  <a:gd name="T59" fmla="*/ 413 h 812"/>
                  <a:gd name="T60" fmla="*/ 706 w 810"/>
                  <a:gd name="T61" fmla="*/ 352 h 812"/>
                  <a:gd name="T62" fmla="*/ 784 w 810"/>
                  <a:gd name="T63" fmla="*/ 256 h 812"/>
                  <a:gd name="T64" fmla="*/ 723 w 810"/>
                  <a:gd name="T65" fmla="*/ 151 h 812"/>
                  <a:gd name="T66" fmla="*/ 628 w 810"/>
                  <a:gd name="T67" fmla="*/ 195 h 812"/>
                  <a:gd name="T68" fmla="*/ 566 w 810"/>
                  <a:gd name="T69" fmla="*/ 146 h 812"/>
                  <a:gd name="T70" fmla="*/ 570 w 810"/>
                  <a:gd name="T71" fmla="*/ 32 h 812"/>
                  <a:gd name="T72" fmla="*/ 510 w 810"/>
                  <a:gd name="T73" fmla="*/ 12 h 812"/>
                  <a:gd name="T74" fmla="*/ 263 w 810"/>
                  <a:gd name="T75" fmla="*/ 366 h 812"/>
                  <a:gd name="T76" fmla="*/ 445 w 810"/>
                  <a:gd name="T77" fmla="*/ 260 h 812"/>
                  <a:gd name="T78" fmla="*/ 551 w 810"/>
                  <a:gd name="T79" fmla="*/ 443 h 812"/>
                  <a:gd name="T80" fmla="*/ 369 w 810"/>
                  <a:gd name="T81" fmla="*/ 548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0" h="812">
                    <a:moveTo>
                      <a:pt x="510" y="12"/>
                    </a:moveTo>
                    <a:cubicBezTo>
                      <a:pt x="505" y="10"/>
                      <a:pt x="501" y="8"/>
                      <a:pt x="497" y="8"/>
                    </a:cubicBezTo>
                    <a:cubicBezTo>
                      <a:pt x="482" y="5"/>
                      <a:pt x="468" y="2"/>
                      <a:pt x="452" y="0"/>
                    </a:cubicBezTo>
                    <a:cubicBezTo>
                      <a:pt x="439" y="33"/>
                      <a:pt x="427" y="66"/>
                      <a:pt x="416" y="98"/>
                    </a:cubicBezTo>
                    <a:lnTo>
                      <a:pt x="399" y="98"/>
                    </a:lnTo>
                    <a:lnTo>
                      <a:pt x="394" y="98"/>
                    </a:lnTo>
                    <a:cubicBezTo>
                      <a:pt x="379" y="100"/>
                      <a:pt x="365" y="101"/>
                      <a:pt x="351" y="103"/>
                    </a:cubicBezTo>
                    <a:cubicBezTo>
                      <a:pt x="340" y="105"/>
                      <a:pt x="329" y="108"/>
                      <a:pt x="318" y="112"/>
                    </a:cubicBezTo>
                    <a:cubicBezTo>
                      <a:pt x="298" y="83"/>
                      <a:pt x="276" y="55"/>
                      <a:pt x="256" y="27"/>
                    </a:cubicBezTo>
                    <a:lnTo>
                      <a:pt x="255" y="26"/>
                    </a:lnTo>
                    <a:cubicBezTo>
                      <a:pt x="247" y="28"/>
                      <a:pt x="240" y="31"/>
                      <a:pt x="234" y="35"/>
                    </a:cubicBezTo>
                    <a:cubicBezTo>
                      <a:pt x="221" y="40"/>
                      <a:pt x="210" y="46"/>
                      <a:pt x="199" y="53"/>
                    </a:cubicBezTo>
                    <a:cubicBezTo>
                      <a:pt x="181" y="62"/>
                      <a:pt x="165" y="73"/>
                      <a:pt x="150" y="87"/>
                    </a:cubicBezTo>
                    <a:lnTo>
                      <a:pt x="150" y="88"/>
                    </a:lnTo>
                    <a:cubicBezTo>
                      <a:pt x="165" y="120"/>
                      <a:pt x="179" y="151"/>
                      <a:pt x="194" y="182"/>
                    </a:cubicBezTo>
                    <a:cubicBezTo>
                      <a:pt x="185" y="191"/>
                      <a:pt x="177" y="198"/>
                      <a:pt x="170" y="208"/>
                    </a:cubicBezTo>
                    <a:cubicBezTo>
                      <a:pt x="160" y="218"/>
                      <a:pt x="151" y="231"/>
                      <a:pt x="144" y="243"/>
                    </a:cubicBezTo>
                    <a:lnTo>
                      <a:pt x="144" y="243"/>
                    </a:lnTo>
                    <a:cubicBezTo>
                      <a:pt x="140" y="248"/>
                      <a:pt x="137" y="253"/>
                      <a:pt x="135" y="260"/>
                    </a:cubicBezTo>
                    <a:cubicBezTo>
                      <a:pt x="100" y="253"/>
                      <a:pt x="65" y="247"/>
                      <a:pt x="30" y="242"/>
                    </a:cubicBezTo>
                    <a:cubicBezTo>
                      <a:pt x="24" y="257"/>
                      <a:pt x="17" y="272"/>
                      <a:pt x="12" y="288"/>
                    </a:cubicBezTo>
                    <a:cubicBezTo>
                      <a:pt x="7" y="313"/>
                      <a:pt x="2" y="337"/>
                      <a:pt x="0" y="361"/>
                    </a:cubicBezTo>
                    <a:lnTo>
                      <a:pt x="97" y="398"/>
                    </a:lnTo>
                    <a:lnTo>
                      <a:pt x="97" y="416"/>
                    </a:lnTo>
                    <a:cubicBezTo>
                      <a:pt x="97" y="430"/>
                      <a:pt x="99" y="445"/>
                      <a:pt x="102" y="460"/>
                    </a:cubicBezTo>
                    <a:cubicBezTo>
                      <a:pt x="104" y="472"/>
                      <a:pt x="108" y="485"/>
                      <a:pt x="111" y="497"/>
                    </a:cubicBezTo>
                    <a:cubicBezTo>
                      <a:pt x="82" y="517"/>
                      <a:pt x="55" y="537"/>
                      <a:pt x="26" y="558"/>
                    </a:cubicBezTo>
                    <a:cubicBezTo>
                      <a:pt x="41" y="596"/>
                      <a:pt x="62" y="631"/>
                      <a:pt x="87" y="663"/>
                    </a:cubicBezTo>
                    <a:lnTo>
                      <a:pt x="89" y="663"/>
                    </a:lnTo>
                    <a:cubicBezTo>
                      <a:pt x="120" y="648"/>
                      <a:pt x="151" y="635"/>
                      <a:pt x="184" y="620"/>
                    </a:cubicBezTo>
                    <a:lnTo>
                      <a:pt x="184" y="620"/>
                    </a:lnTo>
                    <a:cubicBezTo>
                      <a:pt x="191" y="627"/>
                      <a:pt x="199" y="633"/>
                      <a:pt x="206" y="641"/>
                    </a:cubicBezTo>
                    <a:cubicBezTo>
                      <a:pt x="217" y="651"/>
                      <a:pt x="231" y="660"/>
                      <a:pt x="246" y="668"/>
                    </a:cubicBezTo>
                    <a:cubicBezTo>
                      <a:pt x="250" y="671"/>
                      <a:pt x="255" y="673"/>
                      <a:pt x="260" y="677"/>
                    </a:cubicBezTo>
                    <a:cubicBezTo>
                      <a:pt x="254" y="711"/>
                      <a:pt x="249" y="746"/>
                      <a:pt x="244" y="781"/>
                    </a:cubicBezTo>
                    <a:cubicBezTo>
                      <a:pt x="258" y="787"/>
                      <a:pt x="271" y="792"/>
                      <a:pt x="286" y="796"/>
                    </a:cubicBezTo>
                    <a:cubicBezTo>
                      <a:pt x="290" y="797"/>
                      <a:pt x="297" y="800"/>
                      <a:pt x="310" y="802"/>
                    </a:cubicBezTo>
                    <a:cubicBezTo>
                      <a:pt x="327" y="807"/>
                      <a:pt x="345" y="810"/>
                      <a:pt x="361" y="812"/>
                    </a:cubicBezTo>
                    <a:cubicBezTo>
                      <a:pt x="375" y="778"/>
                      <a:pt x="388" y="746"/>
                      <a:pt x="399" y="712"/>
                    </a:cubicBezTo>
                    <a:lnTo>
                      <a:pt x="414" y="712"/>
                    </a:lnTo>
                    <a:lnTo>
                      <a:pt x="415" y="712"/>
                    </a:lnTo>
                    <a:cubicBezTo>
                      <a:pt x="430" y="712"/>
                      <a:pt x="444" y="711"/>
                      <a:pt x="458" y="708"/>
                    </a:cubicBezTo>
                    <a:cubicBezTo>
                      <a:pt x="470" y="706"/>
                      <a:pt x="483" y="702"/>
                      <a:pt x="495" y="698"/>
                    </a:cubicBezTo>
                    <a:cubicBezTo>
                      <a:pt x="495" y="698"/>
                      <a:pt x="495" y="700"/>
                      <a:pt x="496" y="700"/>
                    </a:cubicBezTo>
                    <a:cubicBezTo>
                      <a:pt x="516" y="728"/>
                      <a:pt x="538" y="757"/>
                      <a:pt x="558" y="786"/>
                    </a:cubicBezTo>
                    <a:cubicBezTo>
                      <a:pt x="564" y="782"/>
                      <a:pt x="570" y="780"/>
                      <a:pt x="575" y="777"/>
                    </a:cubicBezTo>
                    <a:cubicBezTo>
                      <a:pt x="588" y="772"/>
                      <a:pt x="599" y="766"/>
                      <a:pt x="610" y="760"/>
                    </a:cubicBezTo>
                    <a:cubicBezTo>
                      <a:pt x="629" y="748"/>
                      <a:pt x="646" y="736"/>
                      <a:pt x="663" y="722"/>
                    </a:cubicBezTo>
                    <a:cubicBezTo>
                      <a:pt x="649" y="690"/>
                      <a:pt x="634" y="658"/>
                      <a:pt x="619" y="626"/>
                    </a:cubicBezTo>
                    <a:lnTo>
                      <a:pt x="619" y="626"/>
                    </a:lnTo>
                    <a:cubicBezTo>
                      <a:pt x="626" y="618"/>
                      <a:pt x="633" y="611"/>
                      <a:pt x="640" y="603"/>
                    </a:cubicBezTo>
                    <a:cubicBezTo>
                      <a:pt x="649" y="592"/>
                      <a:pt x="658" y="580"/>
                      <a:pt x="665" y="568"/>
                    </a:cubicBezTo>
                    <a:cubicBezTo>
                      <a:pt x="665" y="567"/>
                      <a:pt x="666" y="566"/>
                      <a:pt x="666" y="565"/>
                    </a:cubicBezTo>
                    <a:cubicBezTo>
                      <a:pt x="669" y="561"/>
                      <a:pt x="671" y="556"/>
                      <a:pt x="674" y="552"/>
                    </a:cubicBezTo>
                    <a:cubicBezTo>
                      <a:pt x="709" y="558"/>
                      <a:pt x="744" y="563"/>
                      <a:pt x="779" y="570"/>
                    </a:cubicBezTo>
                    <a:cubicBezTo>
                      <a:pt x="785" y="555"/>
                      <a:pt x="790" y="540"/>
                      <a:pt x="795" y="523"/>
                    </a:cubicBezTo>
                    <a:cubicBezTo>
                      <a:pt x="796" y="520"/>
                      <a:pt x="798" y="516"/>
                      <a:pt x="799" y="511"/>
                    </a:cubicBezTo>
                    <a:cubicBezTo>
                      <a:pt x="800" y="507"/>
                      <a:pt x="800" y="503"/>
                      <a:pt x="803" y="498"/>
                    </a:cubicBezTo>
                    <a:cubicBezTo>
                      <a:pt x="805" y="482"/>
                      <a:pt x="809" y="466"/>
                      <a:pt x="810" y="451"/>
                    </a:cubicBezTo>
                    <a:cubicBezTo>
                      <a:pt x="778" y="437"/>
                      <a:pt x="744" y="426"/>
                      <a:pt x="711" y="413"/>
                    </a:cubicBezTo>
                    <a:lnTo>
                      <a:pt x="711" y="398"/>
                    </a:lnTo>
                    <a:cubicBezTo>
                      <a:pt x="711" y="383"/>
                      <a:pt x="710" y="367"/>
                      <a:pt x="706" y="352"/>
                    </a:cubicBezTo>
                    <a:cubicBezTo>
                      <a:pt x="705" y="341"/>
                      <a:pt x="701" y="330"/>
                      <a:pt x="699" y="318"/>
                    </a:cubicBezTo>
                    <a:cubicBezTo>
                      <a:pt x="728" y="298"/>
                      <a:pt x="756" y="277"/>
                      <a:pt x="784" y="256"/>
                    </a:cubicBezTo>
                    <a:lnTo>
                      <a:pt x="785" y="256"/>
                    </a:lnTo>
                    <a:cubicBezTo>
                      <a:pt x="770" y="218"/>
                      <a:pt x="750" y="183"/>
                      <a:pt x="723" y="151"/>
                    </a:cubicBezTo>
                    <a:lnTo>
                      <a:pt x="723" y="151"/>
                    </a:lnTo>
                    <a:cubicBezTo>
                      <a:pt x="690" y="165"/>
                      <a:pt x="659" y="180"/>
                      <a:pt x="628" y="195"/>
                    </a:cubicBezTo>
                    <a:cubicBezTo>
                      <a:pt x="619" y="186"/>
                      <a:pt x="610" y="177"/>
                      <a:pt x="601" y="170"/>
                    </a:cubicBezTo>
                    <a:cubicBezTo>
                      <a:pt x="590" y="161"/>
                      <a:pt x="579" y="152"/>
                      <a:pt x="566" y="146"/>
                    </a:cubicBezTo>
                    <a:cubicBezTo>
                      <a:pt x="563" y="142"/>
                      <a:pt x="557" y="140"/>
                      <a:pt x="554" y="137"/>
                    </a:cubicBezTo>
                    <a:cubicBezTo>
                      <a:pt x="559" y="102"/>
                      <a:pt x="565" y="67"/>
                      <a:pt x="570" y="32"/>
                    </a:cubicBezTo>
                    <a:cubicBezTo>
                      <a:pt x="555" y="26"/>
                      <a:pt x="539" y="20"/>
                      <a:pt x="523" y="15"/>
                    </a:cubicBezTo>
                    <a:cubicBezTo>
                      <a:pt x="519" y="13"/>
                      <a:pt x="514" y="12"/>
                      <a:pt x="510" y="12"/>
                    </a:cubicBezTo>
                    <a:close/>
                    <a:moveTo>
                      <a:pt x="278" y="480"/>
                    </a:moveTo>
                    <a:cubicBezTo>
                      <a:pt x="256" y="443"/>
                      <a:pt x="251" y="406"/>
                      <a:pt x="263" y="366"/>
                    </a:cubicBezTo>
                    <a:cubicBezTo>
                      <a:pt x="273" y="326"/>
                      <a:pt x="296" y="296"/>
                      <a:pt x="333" y="275"/>
                    </a:cubicBezTo>
                    <a:cubicBezTo>
                      <a:pt x="368" y="255"/>
                      <a:pt x="406" y="250"/>
                      <a:pt x="445" y="260"/>
                    </a:cubicBezTo>
                    <a:cubicBezTo>
                      <a:pt x="485" y="271"/>
                      <a:pt x="516" y="293"/>
                      <a:pt x="536" y="330"/>
                    </a:cubicBezTo>
                    <a:cubicBezTo>
                      <a:pt x="558" y="366"/>
                      <a:pt x="563" y="403"/>
                      <a:pt x="551" y="443"/>
                    </a:cubicBezTo>
                    <a:cubicBezTo>
                      <a:pt x="541" y="483"/>
                      <a:pt x="518" y="513"/>
                      <a:pt x="483" y="533"/>
                    </a:cubicBezTo>
                    <a:cubicBezTo>
                      <a:pt x="445" y="555"/>
                      <a:pt x="408" y="559"/>
                      <a:pt x="369" y="548"/>
                    </a:cubicBezTo>
                    <a:cubicBezTo>
                      <a:pt x="329" y="538"/>
                      <a:pt x="298" y="515"/>
                      <a:pt x="278" y="480"/>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chemeClr val="tx1"/>
                    </a:solidFill>
                  </a:ln>
                  <a:solidFill>
                    <a:prstClr val="black"/>
                  </a:solidFill>
                  <a:effectLst/>
                  <a:uLnTx/>
                  <a:uFillTx/>
                  <a:latin typeface="Calibri" panose="020F0502020204030204"/>
                  <a:ea typeface="+mn-ea"/>
                  <a:cs typeface="+mn-cs"/>
                </a:endParaRPr>
              </a:p>
            </p:txBody>
          </p:sp>
          <p:sp>
            <p:nvSpPr>
              <p:cNvPr id="9" name="Gears">
                <a:extLst>
                  <a:ext uri="{FF2B5EF4-FFF2-40B4-BE49-F238E27FC236}">
                    <a16:creationId xmlns:a16="http://schemas.microsoft.com/office/drawing/2014/main" id="{5BE56364-9581-4E3F-B202-21708C5960E7}"/>
                  </a:ext>
                </a:extLst>
              </p:cNvPr>
              <p:cNvSpPr>
                <a:spLocks noEditPoints="1"/>
              </p:cNvSpPr>
              <p:nvPr>
                <p:custDataLst>
                  <p:tags r:id="rId5"/>
                </p:custDataLst>
              </p:nvPr>
            </p:nvSpPr>
            <p:spPr bwMode="auto">
              <a:xfrm>
                <a:off x="115" y="273"/>
                <a:ext cx="104" cy="104"/>
              </a:xfrm>
              <a:custGeom>
                <a:avLst/>
                <a:gdLst>
                  <a:gd name="T0" fmla="*/ 10 w 266"/>
                  <a:gd name="T1" fmla="*/ 101 h 266"/>
                  <a:gd name="T2" fmla="*/ 21 w 266"/>
                  <a:gd name="T3" fmla="*/ 197 h 266"/>
                  <a:gd name="T4" fmla="*/ 23 w 266"/>
                  <a:gd name="T5" fmla="*/ 197 h 266"/>
                  <a:gd name="T6" fmla="*/ 100 w 266"/>
                  <a:gd name="T7" fmla="*/ 257 h 266"/>
                  <a:gd name="T8" fmla="*/ 197 w 266"/>
                  <a:gd name="T9" fmla="*/ 245 h 266"/>
                  <a:gd name="T10" fmla="*/ 197 w 266"/>
                  <a:gd name="T11" fmla="*/ 245 h 266"/>
                  <a:gd name="T12" fmla="*/ 257 w 266"/>
                  <a:gd name="T13" fmla="*/ 167 h 266"/>
                  <a:gd name="T14" fmla="*/ 257 w 266"/>
                  <a:gd name="T15" fmla="*/ 166 h 266"/>
                  <a:gd name="T16" fmla="*/ 244 w 266"/>
                  <a:gd name="T17" fmla="*/ 70 h 266"/>
                  <a:gd name="T18" fmla="*/ 166 w 266"/>
                  <a:gd name="T19" fmla="*/ 10 h 266"/>
                  <a:gd name="T20" fmla="*/ 69 w 266"/>
                  <a:gd name="T21" fmla="*/ 22 h 266"/>
                  <a:gd name="T22" fmla="*/ 10 w 266"/>
                  <a:gd name="T23" fmla="*/ 101 h 266"/>
                  <a:gd name="T24" fmla="*/ 85 w 266"/>
                  <a:gd name="T25" fmla="*/ 51 h 266"/>
                  <a:gd name="T26" fmla="*/ 158 w 266"/>
                  <a:gd name="T27" fmla="*/ 41 h 266"/>
                  <a:gd name="T28" fmla="*/ 216 w 266"/>
                  <a:gd name="T29" fmla="*/ 86 h 266"/>
                  <a:gd name="T30" fmla="*/ 226 w 266"/>
                  <a:gd name="T31" fmla="*/ 159 h 266"/>
                  <a:gd name="T32" fmla="*/ 181 w 266"/>
                  <a:gd name="T33" fmla="*/ 216 h 266"/>
                  <a:gd name="T34" fmla="*/ 181 w 266"/>
                  <a:gd name="T35" fmla="*/ 217 h 266"/>
                  <a:gd name="T36" fmla="*/ 109 w 266"/>
                  <a:gd name="T37" fmla="*/ 226 h 266"/>
                  <a:gd name="T38" fmla="*/ 50 w 266"/>
                  <a:gd name="T39" fmla="*/ 181 h 266"/>
                  <a:gd name="T40" fmla="*/ 40 w 266"/>
                  <a:gd name="T41" fmla="*/ 109 h 266"/>
                  <a:gd name="T42" fmla="*/ 85 w 266"/>
                  <a:gd name="T43" fmla="*/ 5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6" h="266">
                    <a:moveTo>
                      <a:pt x="10" y="101"/>
                    </a:moveTo>
                    <a:cubicBezTo>
                      <a:pt x="0" y="135"/>
                      <a:pt x="4" y="167"/>
                      <a:pt x="21" y="197"/>
                    </a:cubicBezTo>
                    <a:lnTo>
                      <a:pt x="23" y="197"/>
                    </a:lnTo>
                    <a:cubicBezTo>
                      <a:pt x="40" y="228"/>
                      <a:pt x="66" y="247"/>
                      <a:pt x="100" y="257"/>
                    </a:cubicBezTo>
                    <a:cubicBezTo>
                      <a:pt x="134" y="266"/>
                      <a:pt x="166" y="262"/>
                      <a:pt x="197" y="245"/>
                    </a:cubicBezTo>
                    <a:lnTo>
                      <a:pt x="197" y="245"/>
                    </a:lnTo>
                    <a:cubicBezTo>
                      <a:pt x="229" y="226"/>
                      <a:pt x="248" y="201"/>
                      <a:pt x="257" y="167"/>
                    </a:cubicBezTo>
                    <a:lnTo>
                      <a:pt x="257" y="166"/>
                    </a:lnTo>
                    <a:cubicBezTo>
                      <a:pt x="266" y="132"/>
                      <a:pt x="261" y="100"/>
                      <a:pt x="244" y="70"/>
                    </a:cubicBezTo>
                    <a:cubicBezTo>
                      <a:pt x="226" y="38"/>
                      <a:pt x="200" y="18"/>
                      <a:pt x="166" y="10"/>
                    </a:cubicBezTo>
                    <a:cubicBezTo>
                      <a:pt x="132" y="0"/>
                      <a:pt x="99" y="5"/>
                      <a:pt x="69" y="22"/>
                    </a:cubicBezTo>
                    <a:cubicBezTo>
                      <a:pt x="38" y="40"/>
                      <a:pt x="19" y="66"/>
                      <a:pt x="10" y="101"/>
                    </a:cubicBezTo>
                    <a:close/>
                    <a:moveTo>
                      <a:pt x="85" y="51"/>
                    </a:moveTo>
                    <a:cubicBezTo>
                      <a:pt x="109" y="37"/>
                      <a:pt x="133" y="34"/>
                      <a:pt x="158" y="41"/>
                    </a:cubicBezTo>
                    <a:cubicBezTo>
                      <a:pt x="183" y="47"/>
                      <a:pt x="203" y="62"/>
                      <a:pt x="216" y="86"/>
                    </a:cubicBezTo>
                    <a:cubicBezTo>
                      <a:pt x="230" y="109"/>
                      <a:pt x="233" y="134"/>
                      <a:pt x="226" y="159"/>
                    </a:cubicBezTo>
                    <a:cubicBezTo>
                      <a:pt x="219" y="184"/>
                      <a:pt x="204" y="203"/>
                      <a:pt x="181" y="216"/>
                    </a:cubicBezTo>
                    <a:lnTo>
                      <a:pt x="181" y="217"/>
                    </a:lnTo>
                    <a:cubicBezTo>
                      <a:pt x="158" y="230"/>
                      <a:pt x="134" y="233"/>
                      <a:pt x="109" y="226"/>
                    </a:cubicBezTo>
                    <a:cubicBezTo>
                      <a:pt x="83" y="220"/>
                      <a:pt x="64" y="205"/>
                      <a:pt x="50" y="181"/>
                    </a:cubicBezTo>
                    <a:cubicBezTo>
                      <a:pt x="38" y="159"/>
                      <a:pt x="34" y="135"/>
                      <a:pt x="40" y="109"/>
                    </a:cubicBezTo>
                    <a:cubicBezTo>
                      <a:pt x="48" y="84"/>
                      <a:pt x="63" y="65"/>
                      <a:pt x="85" y="51"/>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chemeClr val="tx1"/>
                    </a:solidFill>
                  </a:ln>
                  <a:solidFill>
                    <a:prstClr val="black"/>
                  </a:solidFill>
                  <a:effectLst/>
                  <a:uLnTx/>
                  <a:uFillTx/>
                  <a:latin typeface="Calibri" panose="020F0502020204030204"/>
                  <a:ea typeface="+mn-ea"/>
                  <a:cs typeface="+mn-cs"/>
                </a:endParaRPr>
              </a:p>
            </p:txBody>
          </p:sp>
        </p:grpSp>
      </p:grpSp>
      <p:cxnSp>
        <p:nvCxnSpPr>
          <p:cNvPr id="77" name="Straight Arrow Connector 76">
            <a:extLst>
              <a:ext uri="{FF2B5EF4-FFF2-40B4-BE49-F238E27FC236}">
                <a16:creationId xmlns:a16="http://schemas.microsoft.com/office/drawing/2014/main" id="{7BBE0127-E2A5-4789-906B-73B60E2E5BE7}"/>
              </a:ext>
            </a:extLst>
          </p:cNvPr>
          <p:cNvCxnSpPr/>
          <p:nvPr/>
        </p:nvCxnSpPr>
        <p:spPr>
          <a:xfrm>
            <a:off x="7779747" y="3217512"/>
            <a:ext cx="45720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734C2497-3B53-43D5-9145-6C4DDE26C6ED}"/>
              </a:ext>
            </a:extLst>
          </p:cNvPr>
          <p:cNvGrpSpPr/>
          <p:nvPr/>
        </p:nvGrpSpPr>
        <p:grpSpPr>
          <a:xfrm>
            <a:off x="2939031" y="1717528"/>
            <a:ext cx="1804417" cy="2294760"/>
            <a:chOff x="2939031" y="1717528"/>
            <a:chExt cx="1804417" cy="2294760"/>
          </a:xfrm>
        </p:grpSpPr>
        <p:pic>
          <p:nvPicPr>
            <p:cNvPr id="70" name="Graphic 69">
              <a:extLst>
                <a:ext uri="{FF2B5EF4-FFF2-40B4-BE49-F238E27FC236}">
                  <a16:creationId xmlns:a16="http://schemas.microsoft.com/office/drawing/2014/main" id="{E92B43AC-0ABB-4BE8-A3B8-0BC88F69C166}"/>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0375"/>
            <a:stretch/>
          </p:blipFill>
          <p:spPr>
            <a:xfrm>
              <a:off x="3046982" y="2232643"/>
              <a:ext cx="1588517" cy="1779645"/>
            </a:xfrm>
            <a:prstGeom prst="rect">
              <a:avLst/>
            </a:prstGeom>
          </p:spPr>
        </p:pic>
        <p:sp>
          <p:nvSpPr>
            <p:cNvPr id="72" name="TextBox 71">
              <a:extLst>
                <a:ext uri="{FF2B5EF4-FFF2-40B4-BE49-F238E27FC236}">
                  <a16:creationId xmlns:a16="http://schemas.microsoft.com/office/drawing/2014/main" id="{9CA1B188-8B95-4F0B-AC10-BF15075C7284}"/>
                </a:ext>
              </a:extLst>
            </p:cNvPr>
            <p:cNvSpPr txBox="1"/>
            <p:nvPr/>
          </p:nvSpPr>
          <p:spPr>
            <a:xfrm>
              <a:off x="2939031" y="1717528"/>
              <a:ext cx="1804417" cy="461665"/>
            </a:xfrm>
            <a:prstGeom prst="rect">
              <a:avLst/>
            </a:prstGeom>
            <a:noFill/>
          </p:spPr>
          <p:txBody>
            <a:bodyPr wrap="square">
              <a:spAutoFit/>
            </a:bodyPr>
            <a:lstStyle/>
            <a:p>
              <a:pPr algn="ctr"/>
              <a:r>
                <a:rPr lang="en-US" sz="2400" dirty="0">
                  <a:solidFill>
                    <a:schemeClr val="bg1"/>
                  </a:solidFill>
                  <a:latin typeface="Quicksand Book" panose="02070303000000060000" pitchFamily="18" charset="0"/>
                </a:rPr>
                <a:t>Pharmacy</a:t>
              </a:r>
              <a:endParaRPr lang="en-SG" dirty="0">
                <a:solidFill>
                  <a:schemeClr val="bg1"/>
                </a:solidFill>
                <a:latin typeface="Quicksand Book" panose="02070303000000060000" pitchFamily="18" charset="0"/>
              </a:endParaRPr>
            </a:p>
          </p:txBody>
        </p:sp>
      </p:grpSp>
      <p:cxnSp>
        <p:nvCxnSpPr>
          <p:cNvPr id="74" name="Straight Arrow Connector 73">
            <a:extLst>
              <a:ext uri="{FF2B5EF4-FFF2-40B4-BE49-F238E27FC236}">
                <a16:creationId xmlns:a16="http://schemas.microsoft.com/office/drawing/2014/main" id="{706D4583-A58A-4E16-904F-464BA8D34C5F}"/>
              </a:ext>
            </a:extLst>
          </p:cNvPr>
          <p:cNvCxnSpPr/>
          <p:nvPr/>
        </p:nvCxnSpPr>
        <p:spPr>
          <a:xfrm>
            <a:off x="4826000" y="3225800"/>
            <a:ext cx="457200" cy="0"/>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76" name="Graphic 75">
            <a:extLst>
              <a:ext uri="{FF2B5EF4-FFF2-40B4-BE49-F238E27FC236}">
                <a16:creationId xmlns:a16="http://schemas.microsoft.com/office/drawing/2014/main" id="{378B88BB-4350-40B3-9CF8-1111A2CE03F9}"/>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15559"/>
          <a:stretch/>
        </p:blipFill>
        <p:spPr>
          <a:xfrm>
            <a:off x="5514171" y="1913684"/>
            <a:ext cx="2265576" cy="2404456"/>
          </a:xfrm>
          <a:prstGeom prst="rect">
            <a:avLst/>
          </a:prstGeom>
        </p:spPr>
      </p:pic>
      <p:sp>
        <p:nvSpPr>
          <p:cNvPr id="78" name="TextBox 77">
            <a:extLst>
              <a:ext uri="{FF2B5EF4-FFF2-40B4-BE49-F238E27FC236}">
                <a16:creationId xmlns:a16="http://schemas.microsoft.com/office/drawing/2014/main" id="{B8FF9BD5-FD05-4DB5-8E16-141B64DDDB46}"/>
              </a:ext>
            </a:extLst>
          </p:cNvPr>
          <p:cNvSpPr txBox="1"/>
          <p:nvPr/>
        </p:nvSpPr>
        <p:spPr>
          <a:xfrm>
            <a:off x="5748102" y="1743259"/>
            <a:ext cx="1804417" cy="461665"/>
          </a:xfrm>
          <a:prstGeom prst="rect">
            <a:avLst/>
          </a:prstGeom>
          <a:noFill/>
        </p:spPr>
        <p:txBody>
          <a:bodyPr wrap="square">
            <a:spAutoFit/>
          </a:bodyPr>
          <a:lstStyle/>
          <a:p>
            <a:pPr algn="ctr"/>
            <a:r>
              <a:rPr lang="en-US" sz="2400" dirty="0">
                <a:solidFill>
                  <a:schemeClr val="bg1"/>
                </a:solidFill>
                <a:latin typeface="Quicksand Book" panose="02070303000000060000" pitchFamily="18" charset="0"/>
              </a:rPr>
              <a:t>Home</a:t>
            </a:r>
            <a:endParaRPr lang="en-SG" dirty="0">
              <a:solidFill>
                <a:schemeClr val="bg1"/>
              </a:solidFill>
              <a:latin typeface="Quicksand Book" panose="02070303000000060000" pitchFamily="18" charset="0"/>
            </a:endParaRPr>
          </a:p>
        </p:txBody>
      </p:sp>
      <p:pic>
        <p:nvPicPr>
          <p:cNvPr id="80" name="Graphic 79">
            <a:extLst>
              <a:ext uri="{FF2B5EF4-FFF2-40B4-BE49-F238E27FC236}">
                <a16:creationId xmlns:a16="http://schemas.microsoft.com/office/drawing/2014/main" id="{D63BC2D5-C124-4828-B440-4ADE19C480D9}"/>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b="17236"/>
          <a:stretch/>
        </p:blipFill>
        <p:spPr>
          <a:xfrm>
            <a:off x="8538609" y="1989993"/>
            <a:ext cx="2109767" cy="2182646"/>
          </a:xfrm>
          <a:prstGeom prst="rect">
            <a:avLst/>
          </a:prstGeom>
        </p:spPr>
      </p:pic>
      <p:sp>
        <p:nvSpPr>
          <p:cNvPr id="81" name="TextBox 80">
            <a:extLst>
              <a:ext uri="{FF2B5EF4-FFF2-40B4-BE49-F238E27FC236}">
                <a16:creationId xmlns:a16="http://schemas.microsoft.com/office/drawing/2014/main" id="{64FC3D68-5CAC-4281-B3B1-F9C4D8D5C2C7}"/>
              </a:ext>
            </a:extLst>
          </p:cNvPr>
          <p:cNvSpPr txBox="1"/>
          <p:nvPr/>
        </p:nvSpPr>
        <p:spPr>
          <a:xfrm>
            <a:off x="8691283" y="1759160"/>
            <a:ext cx="1804417" cy="461665"/>
          </a:xfrm>
          <a:prstGeom prst="rect">
            <a:avLst/>
          </a:prstGeom>
          <a:noFill/>
        </p:spPr>
        <p:txBody>
          <a:bodyPr wrap="square">
            <a:spAutoFit/>
          </a:bodyPr>
          <a:lstStyle/>
          <a:p>
            <a:pPr algn="ctr"/>
            <a:r>
              <a:rPr lang="en-US" sz="2400" dirty="0" err="1">
                <a:solidFill>
                  <a:schemeClr val="bg1"/>
                </a:solidFill>
                <a:latin typeface="Quicksand Book" panose="02070303000000060000" pitchFamily="18" charset="0"/>
              </a:rPr>
              <a:t>ElderCare</a:t>
            </a:r>
            <a:endParaRPr lang="en-SG" sz="2400" dirty="0">
              <a:solidFill>
                <a:schemeClr val="bg1"/>
              </a:solidFill>
              <a:latin typeface="Quicksand Book" panose="02070303000000060000" pitchFamily="18" charset="0"/>
            </a:endParaRPr>
          </a:p>
        </p:txBody>
      </p:sp>
    </p:spTree>
    <p:extLst>
      <p:ext uri="{BB962C8B-B14F-4D97-AF65-F5344CB8AC3E}">
        <p14:creationId xmlns:p14="http://schemas.microsoft.com/office/powerpoint/2010/main" val="23432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nodeType="withEffect">
                                  <p:stCondLst>
                                    <p:cond delay="0"/>
                                  </p:stCondLst>
                                  <p:childTnLst>
                                    <p:animRot by="120000">
                                      <p:cBhvr>
                                        <p:cTn id="6" dur="100" fill="hold">
                                          <p:stCondLst>
                                            <p:cond delay="0"/>
                                          </p:stCondLst>
                                        </p:cTn>
                                        <p:tgtEl>
                                          <p:spTgt spid="3"/>
                                        </p:tgtEl>
                                        <p:attrNameLst>
                                          <p:attrName>r</p:attrName>
                                        </p:attrNameLst>
                                      </p:cBhvr>
                                    </p:animRot>
                                    <p:animRot by="-240000">
                                      <p:cBhvr>
                                        <p:cTn id="7" dur="200" fill="hold">
                                          <p:stCondLst>
                                            <p:cond delay="200"/>
                                          </p:stCondLst>
                                        </p:cTn>
                                        <p:tgtEl>
                                          <p:spTgt spid="3"/>
                                        </p:tgtEl>
                                        <p:attrNameLst>
                                          <p:attrName>r</p:attrName>
                                        </p:attrNameLst>
                                      </p:cBhvr>
                                    </p:animRot>
                                    <p:animRot by="240000">
                                      <p:cBhvr>
                                        <p:cTn id="8" dur="200" fill="hold">
                                          <p:stCondLst>
                                            <p:cond delay="400"/>
                                          </p:stCondLst>
                                        </p:cTn>
                                        <p:tgtEl>
                                          <p:spTgt spid="3"/>
                                        </p:tgtEl>
                                        <p:attrNameLst>
                                          <p:attrName>r</p:attrName>
                                        </p:attrNameLst>
                                      </p:cBhvr>
                                    </p:animRot>
                                    <p:animRot by="-240000">
                                      <p:cBhvr>
                                        <p:cTn id="9" dur="200" fill="hold">
                                          <p:stCondLst>
                                            <p:cond delay="600"/>
                                          </p:stCondLst>
                                        </p:cTn>
                                        <p:tgtEl>
                                          <p:spTgt spid="3"/>
                                        </p:tgtEl>
                                        <p:attrNameLst>
                                          <p:attrName>r</p:attrName>
                                        </p:attrNameLst>
                                      </p:cBhvr>
                                    </p:animRot>
                                    <p:animRot by="120000">
                                      <p:cBhvr>
                                        <p:cTn id="10" dur="200" fill="hold">
                                          <p:stCondLst>
                                            <p:cond delay="800"/>
                                          </p:stCondLst>
                                        </p:cTn>
                                        <p:tgtEl>
                                          <p:spTgt spid="3"/>
                                        </p:tgtEl>
                                        <p:attrNameLst>
                                          <p:attrName>r</p:attrName>
                                        </p:attrNameLst>
                                      </p:cBhvr>
                                    </p:animRot>
                                  </p:childTnLst>
                                </p:cTn>
                              </p:par>
                              <p:par>
                                <p:cTn id="11" presetID="10" presetClass="exit" presetSubtype="0" fill="hold" nodeType="withEffect">
                                  <p:stCondLst>
                                    <p:cond delay="0"/>
                                  </p:stCondLst>
                                  <p:childTnLst>
                                    <p:animEffect transition="out" filter="fade">
                                      <p:cBhvr>
                                        <p:cTn id="12" dur="1500"/>
                                        <p:tgtEl>
                                          <p:spTgt spid="3"/>
                                        </p:tgtEl>
                                      </p:cBhvr>
                                    </p:animEffect>
                                    <p:set>
                                      <p:cBhvr>
                                        <p:cTn id="13" dur="1" fill="hold">
                                          <p:stCondLst>
                                            <p:cond delay="1499"/>
                                          </p:stCondLst>
                                        </p:cTn>
                                        <p:tgtEl>
                                          <p:spTgt spid="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1500"/>
                                        <p:tgtEl>
                                          <p:spTgt spid="2"/>
                                        </p:tgtEl>
                                      </p:cBhvr>
                                    </p:animEffect>
                                    <p:set>
                                      <p:cBhvr>
                                        <p:cTn id="16" dur="1" fill="hold">
                                          <p:stCondLst>
                                            <p:cond delay="1499"/>
                                          </p:stCondLst>
                                        </p:cTn>
                                        <p:tgtEl>
                                          <p:spTgt spid="2"/>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1500"/>
                                        <p:tgtEl>
                                          <p:spTgt spid="77"/>
                                        </p:tgtEl>
                                      </p:cBhvr>
                                    </p:animEffect>
                                    <p:set>
                                      <p:cBhvr>
                                        <p:cTn id="19" dur="1" fill="hold">
                                          <p:stCondLst>
                                            <p:cond delay="1499"/>
                                          </p:stCondLst>
                                        </p:cTn>
                                        <p:tgtEl>
                                          <p:spTgt spid="77"/>
                                        </p:tgtEl>
                                        <p:attrNameLst>
                                          <p:attrName>style.visibility</p:attrName>
                                        </p:attrNameLst>
                                      </p:cBhvr>
                                      <p:to>
                                        <p:strVal val="hidden"/>
                                      </p:to>
                                    </p:set>
                                  </p:childTnLst>
                                </p:cTn>
                              </p:par>
                              <p:par>
                                <p:cTn id="20" presetID="10" presetClass="exit" presetSubtype="0" fill="hold" nodeType="withEffect">
                                  <p:stCondLst>
                                    <p:cond delay="0"/>
                                  </p:stCondLst>
                                  <p:childTnLst>
                                    <p:animEffect transition="out" filter="fade">
                                      <p:cBhvr>
                                        <p:cTn id="21" dur="1500"/>
                                        <p:tgtEl>
                                          <p:spTgt spid="74"/>
                                        </p:tgtEl>
                                      </p:cBhvr>
                                    </p:animEffect>
                                    <p:set>
                                      <p:cBhvr>
                                        <p:cTn id="22" dur="1" fill="hold">
                                          <p:stCondLst>
                                            <p:cond delay="1499"/>
                                          </p:stCondLst>
                                        </p:cTn>
                                        <p:tgtEl>
                                          <p:spTgt spid="7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1500"/>
                                        <p:tgtEl>
                                          <p:spTgt spid="76"/>
                                        </p:tgtEl>
                                      </p:cBhvr>
                                    </p:animEffect>
                                    <p:set>
                                      <p:cBhvr>
                                        <p:cTn id="25" dur="1" fill="hold">
                                          <p:stCondLst>
                                            <p:cond delay="1499"/>
                                          </p:stCondLst>
                                        </p:cTn>
                                        <p:tgtEl>
                                          <p:spTgt spid="7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1500"/>
                                        <p:tgtEl>
                                          <p:spTgt spid="78"/>
                                        </p:tgtEl>
                                      </p:cBhvr>
                                    </p:animEffect>
                                    <p:set>
                                      <p:cBhvr>
                                        <p:cTn id="28" dur="1" fill="hold">
                                          <p:stCondLst>
                                            <p:cond delay="1499"/>
                                          </p:stCondLst>
                                        </p:cTn>
                                        <p:tgtEl>
                                          <p:spTgt spid="78"/>
                                        </p:tgtEl>
                                        <p:attrNameLst>
                                          <p:attrName>style.visibility</p:attrName>
                                        </p:attrNameLst>
                                      </p:cBhvr>
                                      <p:to>
                                        <p:strVal val="hidden"/>
                                      </p:to>
                                    </p:set>
                                  </p:childTnLst>
                                </p:cTn>
                              </p:par>
                              <p:par>
                                <p:cTn id="29" presetID="10" presetClass="exit" presetSubtype="0" fill="hold" nodeType="withEffect">
                                  <p:stCondLst>
                                    <p:cond delay="0"/>
                                  </p:stCondLst>
                                  <p:childTnLst>
                                    <p:animEffect transition="out" filter="fade">
                                      <p:cBhvr>
                                        <p:cTn id="30" dur="1500"/>
                                        <p:tgtEl>
                                          <p:spTgt spid="80"/>
                                        </p:tgtEl>
                                      </p:cBhvr>
                                    </p:animEffect>
                                    <p:set>
                                      <p:cBhvr>
                                        <p:cTn id="31" dur="1" fill="hold">
                                          <p:stCondLst>
                                            <p:cond delay="1499"/>
                                          </p:stCondLst>
                                        </p:cTn>
                                        <p:tgtEl>
                                          <p:spTgt spid="80"/>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1500"/>
                                        <p:tgtEl>
                                          <p:spTgt spid="81"/>
                                        </p:tgtEl>
                                      </p:cBhvr>
                                    </p:animEffect>
                                    <p:set>
                                      <p:cBhvr>
                                        <p:cTn id="34" dur="1" fill="hold">
                                          <p:stCondLst>
                                            <p:cond delay="1499"/>
                                          </p:stCondLst>
                                        </p:cTn>
                                        <p:tgtEl>
                                          <p:spTgt spid="8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p:bldP spid="81" grpId="0"/>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doctor*practicioner*family*health"/>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doctor*practicioner*family*health"/>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doctor*practicioner*family*health"/>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doctor*practicioner*family*health"/>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52.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53.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54.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55.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56.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57.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58.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59.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18</TotalTime>
  <Words>550</Words>
  <Application>Microsoft Office PowerPoint</Application>
  <PresentationFormat>Widescreen</PresentationFormat>
  <Paragraphs>141</Paragraphs>
  <Slides>38</Slides>
  <Notes>24</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8</vt:i4>
      </vt:variant>
    </vt:vector>
  </HeadingPairs>
  <TitlesOfParts>
    <vt:vector size="47" baseType="lpstr">
      <vt:lpstr>Quicksand Light</vt:lpstr>
      <vt:lpstr>arial</vt:lpstr>
      <vt:lpstr>Calibri</vt:lpstr>
      <vt:lpstr>Calibri Light</vt:lpstr>
      <vt:lpstr>Bebas Neue</vt:lpstr>
      <vt:lpstr>Quicksand Bold</vt:lpstr>
      <vt:lpstr>Quicksand Book</vt:lpstr>
      <vt:lpstr>arial</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y Hui Xiang</dc:creator>
  <cp:lastModifiedBy>Chay Hui Xiang</cp:lastModifiedBy>
  <cp:revision>74</cp:revision>
  <dcterms:created xsi:type="dcterms:W3CDTF">2021-03-09T02:38:25Z</dcterms:created>
  <dcterms:modified xsi:type="dcterms:W3CDTF">2021-03-11T16:08:10Z</dcterms:modified>
</cp:coreProperties>
</file>